
<file path=[Content_Types].xml><?xml version="1.0" encoding="utf-8"?>
<Types xmlns="http://schemas.openxmlformats.org/package/2006/content-types"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1.xml" ContentType="application/vnd.openxmlformats-officedocument.drawingml.chartshape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81" r:id="rId3"/>
    <p:sldMasterId id="2147483691" r:id="rId4"/>
    <p:sldMasterId id="2147483747" r:id="rId5"/>
    <p:sldMasterId id="2147483765" r:id="rId6"/>
  </p:sldMasterIdLst>
  <p:notesMasterIdLst>
    <p:notesMasterId r:id="rId48"/>
  </p:notesMasterIdLst>
  <p:sldIdLst>
    <p:sldId id="1624" r:id="rId7"/>
    <p:sldId id="1783" r:id="rId8"/>
    <p:sldId id="1852" r:id="rId9"/>
    <p:sldId id="1853" r:id="rId10"/>
    <p:sldId id="1854" r:id="rId11"/>
    <p:sldId id="1855" r:id="rId12"/>
    <p:sldId id="1825" r:id="rId13"/>
    <p:sldId id="1670" r:id="rId14"/>
    <p:sldId id="1826" r:id="rId15"/>
    <p:sldId id="1827" r:id="rId16"/>
    <p:sldId id="1801" r:id="rId17"/>
    <p:sldId id="1828" r:id="rId18"/>
    <p:sldId id="1829" r:id="rId19"/>
    <p:sldId id="1803" r:id="rId20"/>
    <p:sldId id="1808" r:id="rId21"/>
    <p:sldId id="1810" r:id="rId22"/>
    <p:sldId id="1830" r:id="rId23"/>
    <p:sldId id="1831" r:id="rId24"/>
    <p:sldId id="1804" r:id="rId25"/>
    <p:sldId id="1832" r:id="rId26"/>
    <p:sldId id="1833" r:id="rId27"/>
    <p:sldId id="1834" r:id="rId28"/>
    <p:sldId id="1835" r:id="rId29"/>
    <p:sldId id="1646" r:id="rId30"/>
    <p:sldId id="1814" r:id="rId31"/>
    <p:sldId id="1818" r:id="rId32"/>
    <p:sldId id="1819" r:id="rId33"/>
    <p:sldId id="1836" r:id="rId34"/>
    <p:sldId id="1837" r:id="rId35"/>
    <p:sldId id="1838" r:id="rId36"/>
    <p:sldId id="1839" r:id="rId37"/>
    <p:sldId id="1840" r:id="rId38"/>
    <p:sldId id="1841" r:id="rId39"/>
    <p:sldId id="1842" r:id="rId40"/>
    <p:sldId id="1843" r:id="rId41"/>
    <p:sldId id="1702" r:id="rId42"/>
    <p:sldId id="1703" r:id="rId43"/>
    <p:sldId id="1848" r:id="rId44"/>
    <p:sldId id="1849" r:id="rId45"/>
    <p:sldId id="1850" r:id="rId46"/>
    <p:sldId id="1851" r:id="rId47"/>
  </p:sldIdLst>
  <p:sldSz cx="12192000" cy="6858000"/>
  <p:notesSz cx="6858000" cy="9144000"/>
  <p:custDataLst>
    <p:tags r:id="rId4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D31145"/>
    <a:srgbClr val="3333CC"/>
    <a:srgbClr val="FF33CC"/>
    <a:srgbClr val="00B050"/>
    <a:srgbClr val="800000"/>
    <a:srgbClr val="EAEFF7"/>
    <a:srgbClr val="FF9900"/>
    <a:srgbClr val="4472C4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3990" autoAdjust="0"/>
    <p:restoredTop sz="95501" autoAdjust="0"/>
  </p:normalViewPr>
  <p:slideViewPr>
    <p:cSldViewPr snapToGrid="0">
      <p:cViewPr varScale="1">
        <p:scale>
          <a:sx n="102" d="100"/>
          <a:sy n="102" d="100"/>
        </p:scale>
        <p:origin x="312" y="114"/>
      </p:cViewPr>
      <p:guideLst>
        <p:guide orient="horz" pos="958"/>
        <p:guide pos="57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\\VDC03\Share\000%20Sty&#269;n&#253;%20t&#253;m%20od%201.7.2020\25%20DIP%20-%20Dispe&#269;ink%20Intenzivn&#237;%20P&#233;&#269;e\Briefingy\Obsazenost%20lu&#778;z&#780;ek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0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2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3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14:$B$280</c:f>
              <c:numCache>
                <c:formatCode>General</c:formatCode>
                <c:ptCount val="67"/>
                <c:pt idx="0">
                  <c:v>6245</c:v>
                </c:pt>
                <c:pt idx="1">
                  <c:v>3837</c:v>
                </c:pt>
                <c:pt idx="2">
                  <c:v>2160</c:v>
                </c:pt>
                <c:pt idx="3">
                  <c:v>1925</c:v>
                </c:pt>
                <c:pt idx="4">
                  <c:v>1419</c:v>
                </c:pt>
                <c:pt idx="5">
                  <c:v>5581</c:v>
                </c:pt>
                <c:pt idx="6">
                  <c:v>7051</c:v>
                </c:pt>
                <c:pt idx="7">
                  <c:v>5282</c:v>
                </c:pt>
                <c:pt idx="8">
                  <c:v>4819</c:v>
                </c:pt>
                <c:pt idx="9">
                  <c:v>2204</c:v>
                </c:pt>
                <c:pt idx="10">
                  <c:v>986</c:v>
                </c:pt>
                <c:pt idx="11">
                  <c:v>3868</c:v>
                </c:pt>
                <c:pt idx="12">
                  <c:v>5056</c:v>
                </c:pt>
                <c:pt idx="13">
                  <c:v>3715</c:v>
                </c:pt>
                <c:pt idx="14">
                  <c:v>3263</c:v>
                </c:pt>
                <c:pt idx="15">
                  <c:v>3215</c:v>
                </c:pt>
                <c:pt idx="16">
                  <c:v>1541</c:v>
                </c:pt>
                <c:pt idx="17">
                  <c:v>833</c:v>
                </c:pt>
                <c:pt idx="18">
                  <c:v>3340</c:v>
                </c:pt>
                <c:pt idx="19">
                  <c:v>3815</c:v>
                </c:pt>
                <c:pt idx="20">
                  <c:v>2951</c:v>
                </c:pt>
                <c:pt idx="21">
                  <c:v>2629</c:v>
                </c:pt>
                <c:pt idx="22">
                  <c:v>2601</c:v>
                </c:pt>
                <c:pt idx="23">
                  <c:v>1306</c:v>
                </c:pt>
                <c:pt idx="24">
                  <c:v>825</c:v>
                </c:pt>
                <c:pt idx="25">
                  <c:v>2579</c:v>
                </c:pt>
                <c:pt idx="26">
                  <c:v>3237</c:v>
                </c:pt>
                <c:pt idx="27">
                  <c:v>2488</c:v>
                </c:pt>
                <c:pt idx="28">
                  <c:v>2228</c:v>
                </c:pt>
                <c:pt idx="29">
                  <c:v>2168</c:v>
                </c:pt>
                <c:pt idx="30">
                  <c:v>1171</c:v>
                </c:pt>
                <c:pt idx="31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C$214:$C$280</c:f>
              <c:numCache>
                <c:formatCode>General</c:formatCode>
                <c:ptCount val="6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D$214:$D$280</c:f>
              <c:numCache>
                <c:formatCode>General</c:formatCode>
                <c:ptCount val="67"/>
                <c:pt idx="25">
                  <c:v>2886</c:v>
                </c:pt>
                <c:pt idx="26">
                  <c:v>2689</c:v>
                </c:pt>
                <c:pt idx="27">
                  <c:v>2543</c:v>
                </c:pt>
                <c:pt idx="28" formatCode="#,##0">
                  <c:v>2425</c:v>
                </c:pt>
                <c:pt idx="29" formatCode="#,##0">
                  <c:v>2326</c:v>
                </c:pt>
                <c:pt idx="30" formatCode="#,##0">
                  <c:v>2220</c:v>
                </c:pt>
                <c:pt idx="31" formatCode="#,##0">
                  <c:v>2111</c:v>
                </c:pt>
                <c:pt idx="32" formatCode="#,##0">
                  <c:v>2003</c:v>
                </c:pt>
                <c:pt idx="33" formatCode="#,##0">
                  <c:v>1895</c:v>
                </c:pt>
                <c:pt idx="34" formatCode="#,##0">
                  <c:v>1805</c:v>
                </c:pt>
                <c:pt idx="35" formatCode="#,##0">
                  <c:v>1723</c:v>
                </c:pt>
                <c:pt idx="36" formatCode="#,##0">
                  <c:v>1644</c:v>
                </c:pt>
                <c:pt idx="37" formatCode="#,##0">
                  <c:v>1562</c:v>
                </c:pt>
                <c:pt idx="38" formatCode="#,##0">
                  <c:v>1484</c:v>
                </c:pt>
                <c:pt idx="39" formatCode="#,##0">
                  <c:v>1411</c:v>
                </c:pt>
                <c:pt idx="40" formatCode="#,##0">
                  <c:v>1344</c:v>
                </c:pt>
                <c:pt idx="41" formatCode="#,##0">
                  <c:v>1282</c:v>
                </c:pt>
                <c:pt idx="42" formatCode="#,##0">
                  <c:v>1221</c:v>
                </c:pt>
                <c:pt idx="43" formatCode="#,##0">
                  <c:v>1163</c:v>
                </c:pt>
                <c:pt idx="44" formatCode="#,##0">
                  <c:v>1107</c:v>
                </c:pt>
                <c:pt idx="45" formatCode="#,##0">
                  <c:v>1055</c:v>
                </c:pt>
                <c:pt idx="46" formatCode="#,##0">
                  <c:v>1005</c:v>
                </c:pt>
                <c:pt idx="47" formatCode="#,##0">
                  <c:v>958</c:v>
                </c:pt>
                <c:pt idx="48" formatCode="#,##0">
                  <c:v>914</c:v>
                </c:pt>
                <c:pt idx="49" formatCode="#,##0">
                  <c:v>871</c:v>
                </c:pt>
                <c:pt idx="50" formatCode="#,##0">
                  <c:v>831</c:v>
                </c:pt>
                <c:pt idx="51" formatCode="#,##0">
                  <c:v>793</c:v>
                </c:pt>
                <c:pt idx="52" formatCode="#,##0">
                  <c:v>756</c:v>
                </c:pt>
                <c:pt idx="53" formatCode="#,##0">
                  <c:v>722</c:v>
                </c:pt>
                <c:pt idx="54" formatCode="#,##0">
                  <c:v>690</c:v>
                </c:pt>
                <c:pt idx="55" formatCode="#,##0">
                  <c:v>658</c:v>
                </c:pt>
                <c:pt idx="56" formatCode="#,##0">
                  <c:v>629</c:v>
                </c:pt>
                <c:pt idx="57" formatCode="#,##0">
                  <c:v>601</c:v>
                </c:pt>
                <c:pt idx="58" formatCode="#,##0">
                  <c:v>574</c:v>
                </c:pt>
                <c:pt idx="59" formatCode="#,##0">
                  <c:v>549</c:v>
                </c:pt>
                <c:pt idx="60" formatCode="#,##0">
                  <c:v>525</c:v>
                </c:pt>
                <c:pt idx="61" formatCode="#,##0">
                  <c:v>502</c:v>
                </c:pt>
                <c:pt idx="62" formatCode="#,##0">
                  <c:v>481</c:v>
                </c:pt>
                <c:pt idx="63" formatCode="#,##0">
                  <c:v>460</c:v>
                </c:pt>
                <c:pt idx="64" formatCode="#,##0">
                  <c:v>441</c:v>
                </c:pt>
                <c:pt idx="65" formatCode="#,##0">
                  <c:v>422</c:v>
                </c:pt>
                <c:pt idx="66" formatCode="#,##0">
                  <c:v>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E$214:$E$280</c:f>
              <c:numCache>
                <c:formatCode>General</c:formatCode>
                <c:ptCount val="67"/>
                <c:pt idx="25">
                  <c:v>2886</c:v>
                </c:pt>
                <c:pt idx="26">
                  <c:v>2821</c:v>
                </c:pt>
                <c:pt idx="27">
                  <c:v>2747</c:v>
                </c:pt>
                <c:pt idx="28" formatCode="#,##0">
                  <c:v>2668</c:v>
                </c:pt>
                <c:pt idx="29" formatCode="#,##0">
                  <c:v>2588</c:v>
                </c:pt>
                <c:pt idx="30" formatCode="#,##0">
                  <c:v>2515</c:v>
                </c:pt>
                <c:pt idx="31" formatCode="#,##0">
                  <c:v>2446</c:v>
                </c:pt>
                <c:pt idx="32" formatCode="#,##0">
                  <c:v>2381</c:v>
                </c:pt>
                <c:pt idx="33" formatCode="#,##0">
                  <c:v>2318</c:v>
                </c:pt>
                <c:pt idx="34" formatCode="#,##0">
                  <c:v>2253</c:v>
                </c:pt>
                <c:pt idx="35" formatCode="#,##0">
                  <c:v>2190</c:v>
                </c:pt>
                <c:pt idx="36" formatCode="#,##0">
                  <c:v>2129</c:v>
                </c:pt>
                <c:pt idx="37" formatCode="#,##0">
                  <c:v>2071</c:v>
                </c:pt>
                <c:pt idx="38" formatCode="#,##0">
                  <c:v>2016</c:v>
                </c:pt>
                <c:pt idx="39" formatCode="#,##0">
                  <c:v>1962</c:v>
                </c:pt>
                <c:pt idx="40" formatCode="#,##0">
                  <c:v>1908</c:v>
                </c:pt>
                <c:pt idx="41" formatCode="#,##0">
                  <c:v>1855</c:v>
                </c:pt>
                <c:pt idx="42" formatCode="#,##0">
                  <c:v>1805</c:v>
                </c:pt>
                <c:pt idx="43" formatCode="#,##0">
                  <c:v>1757</c:v>
                </c:pt>
                <c:pt idx="44" formatCode="#,##0">
                  <c:v>1709</c:v>
                </c:pt>
                <c:pt idx="45" formatCode="#,##0">
                  <c:v>1663</c:v>
                </c:pt>
                <c:pt idx="46" formatCode="#,##0">
                  <c:v>1619</c:v>
                </c:pt>
                <c:pt idx="47" formatCode="#,##0">
                  <c:v>1576</c:v>
                </c:pt>
                <c:pt idx="48" formatCode="#,##0">
                  <c:v>1533</c:v>
                </c:pt>
                <c:pt idx="49" formatCode="#,##0">
                  <c:v>1493</c:v>
                </c:pt>
                <c:pt idx="50" formatCode="#,##0">
                  <c:v>1453</c:v>
                </c:pt>
                <c:pt idx="51" formatCode="#,##0">
                  <c:v>1415</c:v>
                </c:pt>
                <c:pt idx="52" formatCode="#,##0">
                  <c:v>1377</c:v>
                </c:pt>
                <c:pt idx="53" formatCode="#,##0">
                  <c:v>1341</c:v>
                </c:pt>
                <c:pt idx="54" formatCode="#,##0">
                  <c:v>1306</c:v>
                </c:pt>
                <c:pt idx="55" formatCode="#,##0">
                  <c:v>1271</c:v>
                </c:pt>
                <c:pt idx="56" formatCode="#,##0">
                  <c:v>1238</c:v>
                </c:pt>
                <c:pt idx="57" formatCode="#,##0">
                  <c:v>1206</c:v>
                </c:pt>
                <c:pt idx="58" formatCode="#,##0">
                  <c:v>1174</c:v>
                </c:pt>
                <c:pt idx="59" formatCode="#,##0">
                  <c:v>1144</c:v>
                </c:pt>
                <c:pt idx="60" formatCode="#,##0">
                  <c:v>1114</c:v>
                </c:pt>
                <c:pt idx="61" formatCode="#,##0">
                  <c:v>1086</c:v>
                </c:pt>
                <c:pt idx="62" formatCode="#,##0">
                  <c:v>1058</c:v>
                </c:pt>
                <c:pt idx="63" formatCode="#,##0">
                  <c:v>1031</c:v>
                </c:pt>
                <c:pt idx="64" formatCode="#,##0">
                  <c:v>1005</c:v>
                </c:pt>
                <c:pt idx="65" formatCode="#,##0">
                  <c:v>979</c:v>
                </c:pt>
                <c:pt idx="66" formatCode="#,##0">
                  <c:v>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F$214:$F$280</c:f>
              <c:numCache>
                <c:formatCode>General</c:formatCode>
                <c:ptCount val="67"/>
                <c:pt idx="25">
                  <c:v>2886</c:v>
                </c:pt>
                <c:pt idx="26">
                  <c:v>2952</c:v>
                </c:pt>
                <c:pt idx="27">
                  <c:v>2951</c:v>
                </c:pt>
                <c:pt idx="28" formatCode="#,##0">
                  <c:v>2911</c:v>
                </c:pt>
                <c:pt idx="29" formatCode="#,##0">
                  <c:v>2850</c:v>
                </c:pt>
                <c:pt idx="30" formatCode="#,##0">
                  <c:v>2816</c:v>
                </c:pt>
                <c:pt idx="31" formatCode="#,##0">
                  <c:v>2797</c:v>
                </c:pt>
                <c:pt idx="32" formatCode="#,##0">
                  <c:v>2788</c:v>
                </c:pt>
                <c:pt idx="33" formatCode="#,##0">
                  <c:v>2783</c:v>
                </c:pt>
                <c:pt idx="34" formatCode="#,##0">
                  <c:v>2753</c:v>
                </c:pt>
                <c:pt idx="35" formatCode="#,##0">
                  <c:v>2718</c:v>
                </c:pt>
                <c:pt idx="36" formatCode="#,##0">
                  <c:v>2690</c:v>
                </c:pt>
                <c:pt idx="37" formatCode="#,##0">
                  <c:v>2675</c:v>
                </c:pt>
                <c:pt idx="38" formatCode="#,##0">
                  <c:v>2660</c:v>
                </c:pt>
                <c:pt idx="39" formatCode="#,##0">
                  <c:v>2641</c:v>
                </c:pt>
                <c:pt idx="40" formatCode="#,##0">
                  <c:v>2619</c:v>
                </c:pt>
                <c:pt idx="41" formatCode="#,##0">
                  <c:v>2593</c:v>
                </c:pt>
                <c:pt idx="42" formatCode="#,##0">
                  <c:v>2570</c:v>
                </c:pt>
                <c:pt idx="43" formatCode="#,##0">
                  <c:v>2552</c:v>
                </c:pt>
                <c:pt idx="44" formatCode="#,##0">
                  <c:v>2535</c:v>
                </c:pt>
                <c:pt idx="45" formatCode="#,##0">
                  <c:v>2516</c:v>
                </c:pt>
                <c:pt idx="46" formatCode="#,##0">
                  <c:v>2494</c:v>
                </c:pt>
                <c:pt idx="47" formatCode="#,##0">
                  <c:v>2473</c:v>
                </c:pt>
                <c:pt idx="48" formatCode="#,##0">
                  <c:v>2454</c:v>
                </c:pt>
                <c:pt idx="49" formatCode="#,##0">
                  <c:v>2435</c:v>
                </c:pt>
                <c:pt idx="50" formatCode="#,##0">
                  <c:v>2417</c:v>
                </c:pt>
                <c:pt idx="51" formatCode="#,##0">
                  <c:v>2398</c:v>
                </c:pt>
                <c:pt idx="52" formatCode="#,##0">
                  <c:v>2379</c:v>
                </c:pt>
                <c:pt idx="53" formatCode="#,##0">
                  <c:v>2360</c:v>
                </c:pt>
                <c:pt idx="54" formatCode="#,##0">
                  <c:v>2341</c:v>
                </c:pt>
                <c:pt idx="55" formatCode="#,##0">
                  <c:v>2324</c:v>
                </c:pt>
                <c:pt idx="56" formatCode="#,##0">
                  <c:v>2306</c:v>
                </c:pt>
                <c:pt idx="57" formatCode="#,##0">
                  <c:v>2288</c:v>
                </c:pt>
                <c:pt idx="58" formatCode="#,##0">
                  <c:v>2271</c:v>
                </c:pt>
                <c:pt idx="59" formatCode="#,##0">
                  <c:v>2252</c:v>
                </c:pt>
                <c:pt idx="60" formatCode="#,##0">
                  <c:v>2235</c:v>
                </c:pt>
                <c:pt idx="61" formatCode="#,##0">
                  <c:v>2218</c:v>
                </c:pt>
                <c:pt idx="62" formatCode="#,##0">
                  <c:v>2201</c:v>
                </c:pt>
                <c:pt idx="63" formatCode="#,##0">
                  <c:v>2184</c:v>
                </c:pt>
                <c:pt idx="64" formatCode="#,##0">
                  <c:v>2167</c:v>
                </c:pt>
                <c:pt idx="65" formatCode="#,##0">
                  <c:v>2151</c:v>
                </c:pt>
                <c:pt idx="66" formatCode="#,##0">
                  <c:v>2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14:$A$280</c:f>
              <c:numCache>
                <c:formatCode>m/d/yyyy</c:formatCode>
                <c:ptCount val="67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G$214:$G$280</c:f>
              <c:numCache>
                <c:formatCode>General</c:formatCode>
                <c:ptCount val="67"/>
                <c:pt idx="25">
                  <c:v>2886</c:v>
                </c:pt>
                <c:pt idx="26">
                  <c:v>3149</c:v>
                </c:pt>
                <c:pt idx="27">
                  <c:v>3258</c:v>
                </c:pt>
                <c:pt idx="28" formatCode="#,##0">
                  <c:v>3276</c:v>
                </c:pt>
                <c:pt idx="29" formatCode="#,##0">
                  <c:v>3243</c:v>
                </c:pt>
                <c:pt idx="30" formatCode="#,##0">
                  <c:v>3281</c:v>
                </c:pt>
                <c:pt idx="31" formatCode="#,##0">
                  <c:v>3356</c:v>
                </c:pt>
                <c:pt idx="32" formatCode="#,##0">
                  <c:v>3453</c:v>
                </c:pt>
                <c:pt idx="33" formatCode="#,##0">
                  <c:v>3560</c:v>
                </c:pt>
                <c:pt idx="34" formatCode="#,##0">
                  <c:v>3602</c:v>
                </c:pt>
                <c:pt idx="35" formatCode="#,##0">
                  <c:v>3633</c:v>
                </c:pt>
                <c:pt idx="36" formatCode="#,##0">
                  <c:v>3683</c:v>
                </c:pt>
                <c:pt idx="37" formatCode="#,##0">
                  <c:v>3771</c:v>
                </c:pt>
                <c:pt idx="38" formatCode="#,##0">
                  <c:v>3860</c:v>
                </c:pt>
                <c:pt idx="39" formatCode="#,##0">
                  <c:v>3936</c:v>
                </c:pt>
                <c:pt idx="40" formatCode="#,##0">
                  <c:v>4000</c:v>
                </c:pt>
                <c:pt idx="41" formatCode="#,##0">
                  <c:v>4058</c:v>
                </c:pt>
                <c:pt idx="42" formatCode="#,##0">
                  <c:v>4129</c:v>
                </c:pt>
                <c:pt idx="43" formatCode="#,##0">
                  <c:v>4213</c:v>
                </c:pt>
                <c:pt idx="44" formatCode="#,##0">
                  <c:v>4300</c:v>
                </c:pt>
                <c:pt idx="45" formatCode="#,##0">
                  <c:v>4379</c:v>
                </c:pt>
                <c:pt idx="46" formatCode="#,##0">
                  <c:v>4453</c:v>
                </c:pt>
                <c:pt idx="47" formatCode="#,##0">
                  <c:v>4528</c:v>
                </c:pt>
                <c:pt idx="48" formatCode="#,##0">
                  <c:v>4611</c:v>
                </c:pt>
                <c:pt idx="49" formatCode="#,##0">
                  <c:v>4700</c:v>
                </c:pt>
                <c:pt idx="50" formatCode="#,##0">
                  <c:v>4789</c:v>
                </c:pt>
                <c:pt idx="51" formatCode="#,##0">
                  <c:v>4876</c:v>
                </c:pt>
                <c:pt idx="52" formatCode="#,##0">
                  <c:v>4961</c:v>
                </c:pt>
                <c:pt idx="53" formatCode="#,##0">
                  <c:v>5049</c:v>
                </c:pt>
                <c:pt idx="54" formatCode="#,##0">
                  <c:v>5141</c:v>
                </c:pt>
                <c:pt idx="55" formatCode="#,##0">
                  <c:v>5237</c:v>
                </c:pt>
                <c:pt idx="56" formatCode="#,##0">
                  <c:v>5333</c:v>
                </c:pt>
                <c:pt idx="57" formatCode="#,##0">
                  <c:v>5429</c:v>
                </c:pt>
                <c:pt idx="58" formatCode="#,##0">
                  <c:v>5526</c:v>
                </c:pt>
                <c:pt idx="59" formatCode="#,##0">
                  <c:v>5626</c:v>
                </c:pt>
                <c:pt idx="60" formatCode="#,##0">
                  <c:v>5728</c:v>
                </c:pt>
                <c:pt idx="61" formatCode="#,##0">
                  <c:v>5832</c:v>
                </c:pt>
                <c:pt idx="62" formatCode="#,##0">
                  <c:v>5938</c:v>
                </c:pt>
                <c:pt idx="63" formatCode="#,##0">
                  <c:v>6045</c:v>
                </c:pt>
                <c:pt idx="64" formatCode="#,##0">
                  <c:v>6154</c:v>
                </c:pt>
                <c:pt idx="65" formatCode="#,##0">
                  <c:v>6265</c:v>
                </c:pt>
                <c:pt idx="66" formatCode="#,##0">
                  <c:v>6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08</c:v>
                </c:pt>
                <c:pt idx="1">
                  <c:v>1427</c:v>
                </c:pt>
                <c:pt idx="2">
                  <c:v>1402</c:v>
                </c:pt>
                <c:pt idx="3">
                  <c:v>1382</c:v>
                </c:pt>
                <c:pt idx="4">
                  <c:v>1348</c:v>
                </c:pt>
                <c:pt idx="5">
                  <c:v>1398</c:v>
                </c:pt>
                <c:pt idx="6">
                  <c:v>1365</c:v>
                </c:pt>
                <c:pt idx="7">
                  <c:v>1316</c:v>
                </c:pt>
                <c:pt idx="8">
                  <c:v>1238</c:v>
                </c:pt>
                <c:pt idx="9">
                  <c:v>1222</c:v>
                </c:pt>
                <c:pt idx="10">
                  <c:v>1205</c:v>
                </c:pt>
                <c:pt idx="11">
                  <c:v>1191</c:v>
                </c:pt>
                <c:pt idx="12">
                  <c:v>1163</c:v>
                </c:pt>
                <c:pt idx="13">
                  <c:v>1119</c:v>
                </c:pt>
                <c:pt idx="14">
                  <c:v>1041</c:v>
                </c:pt>
                <c:pt idx="15">
                  <c:v>1019</c:v>
                </c:pt>
                <c:pt idx="16">
                  <c:v>978</c:v>
                </c:pt>
                <c:pt idx="17">
                  <c:v>981</c:v>
                </c:pt>
                <c:pt idx="18">
                  <c:v>999</c:v>
                </c:pt>
                <c:pt idx="19">
                  <c:v>949</c:v>
                </c:pt>
                <c:pt idx="20">
                  <c:v>915</c:v>
                </c:pt>
                <c:pt idx="21">
                  <c:v>838</c:v>
                </c:pt>
                <c:pt idx="22">
                  <c:v>791</c:v>
                </c:pt>
                <c:pt idx="23">
                  <c:v>756</c:v>
                </c:pt>
                <c:pt idx="24">
                  <c:v>766</c:v>
                </c:pt>
                <c:pt idx="25">
                  <c:v>744</c:v>
                </c:pt>
                <c:pt idx="26">
                  <c:v>715</c:v>
                </c:pt>
                <c:pt idx="27">
                  <c:v>689</c:v>
                </c:pt>
                <c:pt idx="28">
                  <c:v>629</c:v>
                </c:pt>
                <c:pt idx="29">
                  <c:v>562</c:v>
                </c:pt>
                <c:pt idx="30">
                  <c:v>543</c:v>
                </c:pt>
                <c:pt idx="31">
                  <c:v>549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2-49ED-8780-89C495F1A7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712.43872983210565</c:v>
                </c:pt>
                <c:pt idx="27">
                  <c:v>680.85320605749507</c:v>
                </c:pt>
                <c:pt idx="28">
                  <c:v>651.5621026606583</c:v>
                </c:pt>
                <c:pt idx="29">
                  <c:v>623.55678321008065</c:v>
                </c:pt>
                <c:pt idx="30">
                  <c:v>597.39898718966253</c:v>
                </c:pt>
                <c:pt idx="31">
                  <c:v>573.64042929923028</c:v>
                </c:pt>
                <c:pt idx="32">
                  <c:v>551.24024695820356</c:v>
                </c:pt>
                <c:pt idx="33">
                  <c:v>530.37050732899945</c:v>
                </c:pt>
                <c:pt idx="34">
                  <c:v>510.45725976489297</c:v>
                </c:pt>
                <c:pt idx="35">
                  <c:v>491.60838218842571</c:v>
                </c:pt>
                <c:pt idx="36">
                  <c:v>473.41853325775912</c:v>
                </c:pt>
                <c:pt idx="37">
                  <c:v>456.26954668296116</c:v>
                </c:pt>
                <c:pt idx="38">
                  <c:v>439.8768621782873</c:v>
                </c:pt>
                <c:pt idx="39">
                  <c:v>423.76120237760796</c:v>
                </c:pt>
                <c:pt idx="40">
                  <c:v>408.4114366125541</c:v>
                </c:pt>
                <c:pt idx="41">
                  <c:v>393.25773537891848</c:v>
                </c:pt>
                <c:pt idx="42">
                  <c:v>378.40709820789067</c:v>
                </c:pt>
                <c:pt idx="43">
                  <c:v>363.73441568631836</c:v>
                </c:pt>
                <c:pt idx="44">
                  <c:v>349.42056930842341</c:v>
                </c:pt>
                <c:pt idx="45">
                  <c:v>335.42059559249395</c:v>
                </c:pt>
                <c:pt idx="46">
                  <c:v>321.79414887381375</c:v>
                </c:pt>
                <c:pt idx="47">
                  <c:v>308.53304930739375</c:v>
                </c:pt>
                <c:pt idx="48">
                  <c:v>295.51401232423285</c:v>
                </c:pt>
                <c:pt idx="49">
                  <c:v>282.89405227992489</c:v>
                </c:pt>
                <c:pt idx="50">
                  <c:v>270.45095008853383</c:v>
                </c:pt>
                <c:pt idx="51">
                  <c:v>258.38891625148716</c:v>
                </c:pt>
                <c:pt idx="52">
                  <c:v>246.73841968975324</c:v>
                </c:pt>
                <c:pt idx="53">
                  <c:v>235.53153061592064</c:v>
                </c:pt>
                <c:pt idx="54">
                  <c:v>224.60820005150549</c:v>
                </c:pt>
                <c:pt idx="55">
                  <c:v>214.09252154238152</c:v>
                </c:pt>
                <c:pt idx="56">
                  <c:v>203.96889972933829</c:v>
                </c:pt>
                <c:pt idx="57">
                  <c:v>194.2051928901956</c:v>
                </c:pt>
                <c:pt idx="58">
                  <c:v>184.77638080115489</c:v>
                </c:pt>
                <c:pt idx="59">
                  <c:v>175.70172360066476</c:v>
                </c:pt>
                <c:pt idx="60">
                  <c:v>167.07520572286853</c:v>
                </c:pt>
                <c:pt idx="61">
                  <c:v>158.82244747792544</c:v>
                </c:pt>
                <c:pt idx="62">
                  <c:v>150.89428527706372</c:v>
                </c:pt>
                <c:pt idx="63">
                  <c:v>143.36999392981031</c:v>
                </c:pt>
                <c:pt idx="64">
                  <c:v>136.07085987914178</c:v>
                </c:pt>
                <c:pt idx="65">
                  <c:v>129.12066785338448</c:v>
                </c:pt>
                <c:pt idx="66">
                  <c:v>122.510853979832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32-49ED-8780-89C495F1A7F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712.98876248241982</c:v>
                </c:pt>
                <c:pt idx="27">
                  <c:v>682.41286438042255</c:v>
                </c:pt>
                <c:pt idx="28">
                  <c:v>654.49173584415189</c:v>
                </c:pt>
                <c:pt idx="29">
                  <c:v>628.13934425481079</c:v>
                </c:pt>
                <c:pt idx="30">
                  <c:v>603.96611728825189</c:v>
                </c:pt>
                <c:pt idx="31">
                  <c:v>582.55655607243784</c:v>
                </c:pt>
                <c:pt idx="32">
                  <c:v>562.91095544433108</c:v>
                </c:pt>
                <c:pt idx="33">
                  <c:v>545.21407355090992</c:v>
                </c:pt>
                <c:pt idx="34">
                  <c:v>528.79550186756444</c:v>
                </c:pt>
                <c:pt idx="35">
                  <c:v>513.69916199789293</c:v>
                </c:pt>
                <c:pt idx="36">
                  <c:v>499.47985944811921</c:v>
                </c:pt>
                <c:pt idx="37">
                  <c:v>486.49920156576968</c:v>
                </c:pt>
                <c:pt idx="38">
                  <c:v>474.4379571654149</c:v>
                </c:pt>
                <c:pt idx="39">
                  <c:v>462.76512581381337</c:v>
                </c:pt>
                <c:pt idx="40">
                  <c:v>451.90333736922213</c:v>
                </c:pt>
                <c:pt idx="41">
                  <c:v>441.22273582104395</c:v>
                </c:pt>
                <c:pt idx="42">
                  <c:v>430.79938966718987</c:v>
                </c:pt>
                <c:pt idx="43">
                  <c:v>420.47358926063424</c:v>
                </c:pt>
                <c:pt idx="44">
                  <c:v>410.39551747197368</c:v>
                </c:pt>
                <c:pt idx="45">
                  <c:v>400.49014784504021</c:v>
                </c:pt>
                <c:pt idx="46">
                  <c:v>390.79971608668461</c:v>
                </c:pt>
                <c:pt idx="47">
                  <c:v>381.29069759549327</c:v>
                </c:pt>
                <c:pt idx="48">
                  <c:v>371.81645527560374</c:v>
                </c:pt>
                <c:pt idx="49">
                  <c:v>362.5330370260034</c:v>
                </c:pt>
                <c:pt idx="50">
                  <c:v>353.2039428987971</c:v>
                </c:pt>
                <c:pt idx="51">
                  <c:v>344.03076599440504</c:v>
                </c:pt>
                <c:pt idx="52">
                  <c:v>335.04132086192249</c:v>
                </c:pt>
                <c:pt idx="53">
                  <c:v>326.26790943662024</c:v>
                </c:pt>
                <c:pt idx="54">
                  <c:v>317.55126942873432</c:v>
                </c:pt>
                <c:pt idx="55">
                  <c:v>309.02023076263083</c:v>
                </c:pt>
                <c:pt idx="56">
                  <c:v>300.66239917257843</c:v>
                </c:pt>
                <c:pt idx="57">
                  <c:v>292.45404749031923</c:v>
                </c:pt>
                <c:pt idx="58">
                  <c:v>284.3762938445999</c:v>
                </c:pt>
                <c:pt idx="59">
                  <c:v>276.45726041464633</c:v>
                </c:pt>
                <c:pt idx="60">
                  <c:v>268.7965540805148</c:v>
                </c:pt>
                <c:pt idx="61">
                  <c:v>261.33416786664185</c:v>
                </c:pt>
                <c:pt idx="62">
                  <c:v>254.02401061156294</c:v>
                </c:pt>
                <c:pt idx="63">
                  <c:v>246.958408950923</c:v>
                </c:pt>
                <c:pt idx="64">
                  <c:v>239.96527629294263</c:v>
                </c:pt>
                <c:pt idx="65">
                  <c:v>233.17745936769148</c:v>
                </c:pt>
                <c:pt idx="66">
                  <c:v>226.591958690773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2-49ED-8780-89C495F1A7F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713.53462821871597</c:v>
                </c:pt>
                <c:pt idx="27">
                  <c:v>683.96714688620352</c:v>
                </c:pt>
                <c:pt idx="28">
                  <c:v>657.41515382780187</c:v>
                </c:pt>
                <c:pt idx="29">
                  <c:v>632.71496132046911</c:v>
                </c:pt>
                <c:pt idx="30">
                  <c:v>610.5506537112617</c:v>
                </c:pt>
                <c:pt idx="31">
                  <c:v>591.56350865560921</c:v>
                </c:pt>
                <c:pt idx="32">
                  <c:v>574.81714247051502</c:v>
                </c:pt>
                <c:pt idx="33">
                  <c:v>560.52062365126164</c:v>
                </c:pt>
                <c:pt idx="34">
                  <c:v>547.90395099461273</c:v>
                </c:pt>
                <c:pt idx="35">
                  <c:v>536.94701676095406</c:v>
                </c:pt>
                <c:pt idx="36">
                  <c:v>527.19340720809441</c:v>
                </c:pt>
                <c:pt idx="37">
                  <c:v>519.01145146651311</c:v>
                </c:pt>
                <c:pt idx="38">
                  <c:v>512.04997731859964</c:v>
                </c:pt>
                <c:pt idx="39">
                  <c:v>505.7270070112325</c:v>
                </c:pt>
                <c:pt idx="40">
                  <c:v>500.41296658464313</c:v>
                </c:pt>
                <c:pt idx="41">
                  <c:v>495.41688791621959</c:v>
                </c:pt>
                <c:pt idx="42">
                  <c:v>490.7757788200102</c:v>
                </c:pt>
                <c:pt idx="43">
                  <c:v>486.30841519447472</c:v>
                </c:pt>
                <c:pt idx="44">
                  <c:v>482.14592078660121</c:v>
                </c:pt>
                <c:pt idx="45">
                  <c:v>478.17470468414865</c:v>
                </c:pt>
                <c:pt idx="46">
                  <c:v>474.39443152815562</c:v>
                </c:pt>
                <c:pt idx="47">
                  <c:v>470.74300778637439</c:v>
                </c:pt>
                <c:pt idx="48">
                  <c:v>467.06244808554663</c:v>
                </c:pt>
                <c:pt idx="49">
                  <c:v>463.4843739509364</c:v>
                </c:pt>
                <c:pt idx="50">
                  <c:v>459.76431532745664</c:v>
                </c:pt>
                <c:pt idx="51">
                  <c:v>456.08338778718974</c:v>
                </c:pt>
                <c:pt idx="52">
                  <c:v>452.45977784525905</c:v>
                </c:pt>
                <c:pt idx="53">
                  <c:v>448.91342890858789</c:v>
                </c:pt>
                <c:pt idx="54">
                  <c:v>445.27749248814922</c:v>
                </c:pt>
                <c:pt idx="55">
                  <c:v>441.68460345303595</c:v>
                </c:pt>
                <c:pt idx="56">
                  <c:v>438.11175765773083</c:v>
                </c:pt>
                <c:pt idx="57">
                  <c:v>434.53111596809697</c:v>
                </c:pt>
                <c:pt idx="58">
                  <c:v>430.92969958213803</c:v>
                </c:pt>
                <c:pt idx="59">
                  <c:v>427.32253192053236</c:v>
                </c:pt>
                <c:pt idx="60">
                  <c:v>423.81754074420707</c:v>
                </c:pt>
                <c:pt idx="61">
                  <c:v>420.3521680688246</c:v>
                </c:pt>
                <c:pt idx="62">
                  <c:v>416.88367201206717</c:v>
                </c:pt>
                <c:pt idx="63">
                  <c:v>413.50470438878438</c:v>
                </c:pt>
                <c:pt idx="64">
                  <c:v>410.04390844283131</c:v>
                </c:pt>
                <c:pt idx="65">
                  <c:v>406.64172789775728</c:v>
                </c:pt>
                <c:pt idx="66">
                  <c:v>403.29375501739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2-49ED-8780-89C495F1A7FD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893</c:v>
                </c:pt>
                <c:pt idx="1">
                  <c:v>1893</c:v>
                </c:pt>
                <c:pt idx="2">
                  <c:v>1893</c:v>
                </c:pt>
                <c:pt idx="3">
                  <c:v>1893</c:v>
                </c:pt>
                <c:pt idx="4">
                  <c:v>1893</c:v>
                </c:pt>
                <c:pt idx="5">
                  <c:v>1893</c:v>
                </c:pt>
                <c:pt idx="6">
                  <c:v>1893</c:v>
                </c:pt>
                <c:pt idx="7">
                  <c:v>1893</c:v>
                </c:pt>
                <c:pt idx="8">
                  <c:v>1893</c:v>
                </c:pt>
                <c:pt idx="9">
                  <c:v>1893</c:v>
                </c:pt>
                <c:pt idx="10">
                  <c:v>1893</c:v>
                </c:pt>
                <c:pt idx="11">
                  <c:v>1893</c:v>
                </c:pt>
                <c:pt idx="12">
                  <c:v>1893</c:v>
                </c:pt>
                <c:pt idx="13">
                  <c:v>1893</c:v>
                </c:pt>
                <c:pt idx="14">
                  <c:v>1893</c:v>
                </c:pt>
                <c:pt idx="15">
                  <c:v>1893</c:v>
                </c:pt>
                <c:pt idx="16">
                  <c:v>1893</c:v>
                </c:pt>
                <c:pt idx="17">
                  <c:v>1893</c:v>
                </c:pt>
                <c:pt idx="18">
                  <c:v>1893</c:v>
                </c:pt>
                <c:pt idx="19">
                  <c:v>1893</c:v>
                </c:pt>
                <c:pt idx="20">
                  <c:v>1893</c:v>
                </c:pt>
                <c:pt idx="21">
                  <c:v>1893</c:v>
                </c:pt>
                <c:pt idx="22">
                  <c:v>1893</c:v>
                </c:pt>
                <c:pt idx="23">
                  <c:v>1893</c:v>
                </c:pt>
                <c:pt idx="24">
                  <c:v>1893</c:v>
                </c:pt>
                <c:pt idx="25">
                  <c:v>1893</c:v>
                </c:pt>
                <c:pt idx="26">
                  <c:v>1893</c:v>
                </c:pt>
                <c:pt idx="27">
                  <c:v>1893</c:v>
                </c:pt>
                <c:pt idx="28">
                  <c:v>1893</c:v>
                </c:pt>
                <c:pt idx="29">
                  <c:v>1893</c:v>
                </c:pt>
                <c:pt idx="30">
                  <c:v>1893</c:v>
                </c:pt>
                <c:pt idx="31">
                  <c:v>1893</c:v>
                </c:pt>
                <c:pt idx="32">
                  <c:v>1893</c:v>
                </c:pt>
                <c:pt idx="33">
                  <c:v>1893</c:v>
                </c:pt>
                <c:pt idx="34">
                  <c:v>1893</c:v>
                </c:pt>
                <c:pt idx="35">
                  <c:v>1893</c:v>
                </c:pt>
                <c:pt idx="36">
                  <c:v>1893</c:v>
                </c:pt>
                <c:pt idx="37">
                  <c:v>1893</c:v>
                </c:pt>
                <c:pt idx="38">
                  <c:v>1893</c:v>
                </c:pt>
                <c:pt idx="39">
                  <c:v>1893</c:v>
                </c:pt>
                <c:pt idx="40">
                  <c:v>1893</c:v>
                </c:pt>
                <c:pt idx="41">
                  <c:v>1893</c:v>
                </c:pt>
                <c:pt idx="42">
                  <c:v>1893</c:v>
                </c:pt>
                <c:pt idx="43">
                  <c:v>1893</c:v>
                </c:pt>
                <c:pt idx="44">
                  <c:v>1893</c:v>
                </c:pt>
                <c:pt idx="45">
                  <c:v>1893</c:v>
                </c:pt>
                <c:pt idx="46">
                  <c:v>1893</c:v>
                </c:pt>
                <c:pt idx="47">
                  <c:v>1893</c:v>
                </c:pt>
                <c:pt idx="48">
                  <c:v>1893</c:v>
                </c:pt>
                <c:pt idx="49">
                  <c:v>1893</c:v>
                </c:pt>
                <c:pt idx="50">
                  <c:v>1893</c:v>
                </c:pt>
                <c:pt idx="51">
                  <c:v>1893</c:v>
                </c:pt>
                <c:pt idx="52">
                  <c:v>1893</c:v>
                </c:pt>
                <c:pt idx="53">
                  <c:v>1893</c:v>
                </c:pt>
                <c:pt idx="54">
                  <c:v>1893</c:v>
                </c:pt>
                <c:pt idx="55">
                  <c:v>1893</c:v>
                </c:pt>
                <c:pt idx="56">
                  <c:v>1893</c:v>
                </c:pt>
                <c:pt idx="57">
                  <c:v>1893</c:v>
                </c:pt>
                <c:pt idx="58">
                  <c:v>1893</c:v>
                </c:pt>
                <c:pt idx="59">
                  <c:v>1893</c:v>
                </c:pt>
                <c:pt idx="60">
                  <c:v>1893</c:v>
                </c:pt>
                <c:pt idx="61">
                  <c:v>1893</c:v>
                </c:pt>
                <c:pt idx="62">
                  <c:v>1893</c:v>
                </c:pt>
                <c:pt idx="63">
                  <c:v>1893</c:v>
                </c:pt>
                <c:pt idx="64">
                  <c:v>1893</c:v>
                </c:pt>
                <c:pt idx="65">
                  <c:v>1893</c:v>
                </c:pt>
                <c:pt idx="66">
                  <c:v>18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32-49ED-8780-89C495F1A7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 sz="2000" b="1">
                <a:solidFill>
                  <a:sysClr val="windowText" lastClr="000000"/>
                </a:solidFill>
              </a:rPr>
              <a:t>Vývoj </a:t>
            </a:r>
            <a:r>
              <a:rPr lang="cs-CZ" sz="2000" b="1" baseline="0">
                <a:solidFill>
                  <a:sysClr val="windowText" lastClr="000000"/>
                </a:solidFill>
              </a:rPr>
              <a:t>obsazenosti C+ lůžek v ČR</a:t>
            </a:r>
            <a:endParaRPr lang="cs-CZ" sz="2000" b="1">
              <a:solidFill>
                <a:sysClr val="windowText" lastClr="00000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Obsazenost lůžek.xlsx]List1'!$D$4</c:f>
              <c:strCache>
                <c:ptCount val="1"/>
                <c:pt idx="0">
                  <c:v>Standardní lůžk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Obsazenost lůžek.xlsx]List1'!$C$5:$C$53</c:f>
              <c:numCache>
                <c:formatCode>m/d/yyyy</c:formatCode>
                <c:ptCount val="49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7</c:v>
                </c:pt>
                <c:pt idx="48">
                  <c:v>44318</c:v>
                </c:pt>
              </c:numCache>
            </c:numRef>
          </c:cat>
          <c:val>
            <c:numRef>
              <c:f>'[Obsazenost lůžek.xlsx]List1'!$D$5:$D$53</c:f>
              <c:numCache>
                <c:formatCode>#,##0</c:formatCode>
                <c:ptCount val="49"/>
                <c:pt idx="0">
                  <c:v>6602</c:v>
                </c:pt>
                <c:pt idx="1">
                  <c:v>7115</c:v>
                </c:pt>
                <c:pt idx="2">
                  <c:v>7150</c:v>
                </c:pt>
                <c:pt idx="3">
                  <c:v>7071</c:v>
                </c:pt>
                <c:pt idx="4">
                  <c:v>6936</c:v>
                </c:pt>
                <c:pt idx="5">
                  <c:v>6814</c:v>
                </c:pt>
                <c:pt idx="6">
                  <c:v>6376</c:v>
                </c:pt>
                <c:pt idx="7">
                  <c:v>6239</c:v>
                </c:pt>
                <c:pt idx="8">
                  <c:v>6746</c:v>
                </c:pt>
                <c:pt idx="9">
                  <c:v>6640</c:v>
                </c:pt>
                <c:pt idx="10">
                  <c:v>6384</c:v>
                </c:pt>
                <c:pt idx="11">
                  <c:v>6242</c:v>
                </c:pt>
                <c:pt idx="12">
                  <c:v>6215</c:v>
                </c:pt>
                <c:pt idx="13">
                  <c:v>5696</c:v>
                </c:pt>
                <c:pt idx="14">
                  <c:v>5570</c:v>
                </c:pt>
                <c:pt idx="15">
                  <c:v>6118</c:v>
                </c:pt>
                <c:pt idx="16">
                  <c:v>5980</c:v>
                </c:pt>
                <c:pt idx="17">
                  <c:v>5751</c:v>
                </c:pt>
                <c:pt idx="18">
                  <c:v>5548</c:v>
                </c:pt>
                <c:pt idx="19">
                  <c:v>5084</c:v>
                </c:pt>
                <c:pt idx="20">
                  <c:v>4968</c:v>
                </c:pt>
                <c:pt idx="21">
                  <c:v>4475</c:v>
                </c:pt>
                <c:pt idx="22">
                  <c:v>4457</c:v>
                </c:pt>
                <c:pt idx="23">
                  <c:v>5460</c:v>
                </c:pt>
                <c:pt idx="24">
                  <c:v>5189</c:v>
                </c:pt>
                <c:pt idx="25">
                  <c:v>4832</c:v>
                </c:pt>
                <c:pt idx="26">
                  <c:v>4586</c:v>
                </c:pt>
                <c:pt idx="27">
                  <c:v>4030</c:v>
                </c:pt>
                <c:pt idx="28">
                  <c:v>3880</c:v>
                </c:pt>
                <c:pt idx="29">
                  <c:v>4182</c:v>
                </c:pt>
                <c:pt idx="30">
                  <c:v>3963</c:v>
                </c:pt>
                <c:pt idx="31">
                  <c:v>3757</c:v>
                </c:pt>
                <c:pt idx="32">
                  <c:v>3574</c:v>
                </c:pt>
                <c:pt idx="33">
                  <c:v>3379</c:v>
                </c:pt>
                <c:pt idx="34">
                  <c:v>3041</c:v>
                </c:pt>
                <c:pt idx="35">
                  <c:v>2951</c:v>
                </c:pt>
                <c:pt idx="36">
                  <c:v>3125</c:v>
                </c:pt>
                <c:pt idx="37">
                  <c:v>3120</c:v>
                </c:pt>
                <c:pt idx="38">
                  <c:v>2986</c:v>
                </c:pt>
                <c:pt idx="39">
                  <c:v>2841</c:v>
                </c:pt>
                <c:pt idx="40">
                  <c:v>2668</c:v>
                </c:pt>
                <c:pt idx="41">
                  <c:v>2378</c:v>
                </c:pt>
                <c:pt idx="42">
                  <c:v>2351</c:v>
                </c:pt>
                <c:pt idx="43">
                  <c:v>2463</c:v>
                </c:pt>
                <c:pt idx="44">
                  <c:v>2374</c:v>
                </c:pt>
                <c:pt idx="45">
                  <c:v>2270</c:v>
                </c:pt>
                <c:pt idx="46">
                  <c:v>2151</c:v>
                </c:pt>
                <c:pt idx="47">
                  <c:v>18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A86-4476-B871-694E65B852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2050880"/>
        <c:axId val="712047136"/>
      </c:lineChart>
      <c:lineChart>
        <c:grouping val="standard"/>
        <c:varyColors val="0"/>
        <c:ser>
          <c:idx val="1"/>
          <c:order val="1"/>
          <c:tx>
            <c:strRef>
              <c:f>'[Obsazenost lůžek.xlsx]List1'!$E$4</c:f>
              <c:strCache>
                <c:ptCount val="1"/>
                <c:pt idx="0">
                  <c:v>Intenzivní péče (UPV/NIV + CPAP/HFNO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Obsazenost lůžek.xlsx]List1'!$C$5:$C$53</c:f>
              <c:numCache>
                <c:formatCode>m/d/yyyy</c:formatCode>
                <c:ptCount val="49"/>
                <c:pt idx="0">
                  <c:v>44270</c:v>
                </c:pt>
                <c:pt idx="1">
                  <c:v>44271</c:v>
                </c:pt>
                <c:pt idx="2">
                  <c:v>44272</c:v>
                </c:pt>
                <c:pt idx="3">
                  <c:v>44273</c:v>
                </c:pt>
                <c:pt idx="4">
                  <c:v>44274</c:v>
                </c:pt>
                <c:pt idx="5">
                  <c:v>44275</c:v>
                </c:pt>
                <c:pt idx="6">
                  <c:v>44276</c:v>
                </c:pt>
                <c:pt idx="7">
                  <c:v>44277</c:v>
                </c:pt>
                <c:pt idx="8">
                  <c:v>44278</c:v>
                </c:pt>
                <c:pt idx="9">
                  <c:v>44279</c:v>
                </c:pt>
                <c:pt idx="10">
                  <c:v>44280</c:v>
                </c:pt>
                <c:pt idx="11">
                  <c:v>44281</c:v>
                </c:pt>
                <c:pt idx="12">
                  <c:v>44282</c:v>
                </c:pt>
                <c:pt idx="13">
                  <c:v>44283</c:v>
                </c:pt>
                <c:pt idx="14">
                  <c:v>44284</c:v>
                </c:pt>
                <c:pt idx="15">
                  <c:v>44285</c:v>
                </c:pt>
                <c:pt idx="16">
                  <c:v>44286</c:v>
                </c:pt>
                <c:pt idx="17">
                  <c:v>44287</c:v>
                </c:pt>
                <c:pt idx="18">
                  <c:v>44288</c:v>
                </c:pt>
                <c:pt idx="19">
                  <c:v>44289</c:v>
                </c:pt>
                <c:pt idx="20">
                  <c:v>44290</c:v>
                </c:pt>
                <c:pt idx="21">
                  <c:v>44291</c:v>
                </c:pt>
                <c:pt idx="22">
                  <c:v>44292</c:v>
                </c:pt>
                <c:pt idx="23">
                  <c:v>44293</c:v>
                </c:pt>
                <c:pt idx="24">
                  <c:v>44294</c:v>
                </c:pt>
                <c:pt idx="25">
                  <c:v>44295</c:v>
                </c:pt>
                <c:pt idx="26">
                  <c:v>44296</c:v>
                </c:pt>
                <c:pt idx="27">
                  <c:v>44297</c:v>
                </c:pt>
                <c:pt idx="28">
                  <c:v>44298</c:v>
                </c:pt>
                <c:pt idx="29">
                  <c:v>44299</c:v>
                </c:pt>
                <c:pt idx="30">
                  <c:v>44300</c:v>
                </c:pt>
                <c:pt idx="31">
                  <c:v>44301</c:v>
                </c:pt>
                <c:pt idx="32">
                  <c:v>44302</c:v>
                </c:pt>
                <c:pt idx="33">
                  <c:v>44303</c:v>
                </c:pt>
                <c:pt idx="34">
                  <c:v>44304</c:v>
                </c:pt>
                <c:pt idx="35">
                  <c:v>44305</c:v>
                </c:pt>
                <c:pt idx="36">
                  <c:v>44306</c:v>
                </c:pt>
                <c:pt idx="37">
                  <c:v>44307</c:v>
                </c:pt>
                <c:pt idx="38">
                  <c:v>44308</c:v>
                </c:pt>
                <c:pt idx="39">
                  <c:v>44309</c:v>
                </c:pt>
                <c:pt idx="40">
                  <c:v>44310</c:v>
                </c:pt>
                <c:pt idx="41">
                  <c:v>44311</c:v>
                </c:pt>
                <c:pt idx="42">
                  <c:v>44312</c:v>
                </c:pt>
                <c:pt idx="43">
                  <c:v>44313</c:v>
                </c:pt>
                <c:pt idx="44">
                  <c:v>44314</c:v>
                </c:pt>
                <c:pt idx="45">
                  <c:v>44315</c:v>
                </c:pt>
                <c:pt idx="46">
                  <c:v>44316</c:v>
                </c:pt>
                <c:pt idx="47">
                  <c:v>44317</c:v>
                </c:pt>
                <c:pt idx="48">
                  <c:v>44318</c:v>
                </c:pt>
              </c:numCache>
            </c:numRef>
          </c:cat>
          <c:val>
            <c:numRef>
              <c:f>'[Obsazenost lůžek.xlsx]List1'!$E$5:$E$53</c:f>
              <c:numCache>
                <c:formatCode>#,##0</c:formatCode>
                <c:ptCount val="49"/>
                <c:pt idx="0">
                  <c:v>1760</c:v>
                </c:pt>
                <c:pt idx="1">
                  <c:v>1824</c:v>
                </c:pt>
                <c:pt idx="2">
                  <c:v>1856</c:v>
                </c:pt>
                <c:pt idx="3">
                  <c:v>1839</c:v>
                </c:pt>
                <c:pt idx="4">
                  <c:v>1837</c:v>
                </c:pt>
                <c:pt idx="5">
                  <c:v>1818</c:v>
                </c:pt>
                <c:pt idx="6">
                  <c:v>1792</c:v>
                </c:pt>
                <c:pt idx="7">
                  <c:v>1768</c:v>
                </c:pt>
                <c:pt idx="8">
                  <c:v>1799</c:v>
                </c:pt>
                <c:pt idx="9">
                  <c:v>1762</c:v>
                </c:pt>
                <c:pt idx="10">
                  <c:v>1739</c:v>
                </c:pt>
                <c:pt idx="11">
                  <c:v>1723</c:v>
                </c:pt>
                <c:pt idx="12">
                  <c:v>1682</c:v>
                </c:pt>
                <c:pt idx="13">
                  <c:v>1641</c:v>
                </c:pt>
                <c:pt idx="14">
                  <c:v>1618</c:v>
                </c:pt>
                <c:pt idx="15">
                  <c:v>1606</c:v>
                </c:pt>
                <c:pt idx="16">
                  <c:v>1600</c:v>
                </c:pt>
                <c:pt idx="17">
                  <c:v>1547</c:v>
                </c:pt>
                <c:pt idx="18">
                  <c:v>1504</c:v>
                </c:pt>
                <c:pt idx="19">
                  <c:v>1446</c:v>
                </c:pt>
                <c:pt idx="20">
                  <c:v>1416</c:v>
                </c:pt>
                <c:pt idx="21">
                  <c:v>1312</c:v>
                </c:pt>
                <c:pt idx="22">
                  <c:v>1365</c:v>
                </c:pt>
                <c:pt idx="23">
                  <c:v>1315</c:v>
                </c:pt>
                <c:pt idx="24">
                  <c:v>1315</c:v>
                </c:pt>
                <c:pt idx="25">
                  <c:v>1312</c:v>
                </c:pt>
                <c:pt idx="26">
                  <c:v>1275</c:v>
                </c:pt>
                <c:pt idx="27">
                  <c:v>1241</c:v>
                </c:pt>
                <c:pt idx="28">
                  <c:v>1190</c:v>
                </c:pt>
                <c:pt idx="29">
                  <c:v>1166</c:v>
                </c:pt>
                <c:pt idx="30">
                  <c:v>1166</c:v>
                </c:pt>
                <c:pt idx="31">
                  <c:v>1131</c:v>
                </c:pt>
                <c:pt idx="32">
                  <c:v>1077</c:v>
                </c:pt>
                <c:pt idx="33">
                  <c:v>1042</c:v>
                </c:pt>
                <c:pt idx="34">
                  <c:v>1011</c:v>
                </c:pt>
                <c:pt idx="35">
                  <c:v>962</c:v>
                </c:pt>
                <c:pt idx="36">
                  <c:v>983</c:v>
                </c:pt>
                <c:pt idx="37">
                  <c:v>943</c:v>
                </c:pt>
                <c:pt idx="38">
                  <c:v>923</c:v>
                </c:pt>
                <c:pt idx="39">
                  <c:v>852</c:v>
                </c:pt>
                <c:pt idx="40">
                  <c:v>798</c:v>
                </c:pt>
                <c:pt idx="41">
                  <c:v>780</c:v>
                </c:pt>
                <c:pt idx="42">
                  <c:v>747</c:v>
                </c:pt>
                <c:pt idx="43">
                  <c:v>735</c:v>
                </c:pt>
                <c:pt idx="44">
                  <c:v>728</c:v>
                </c:pt>
                <c:pt idx="45">
                  <c:v>696</c:v>
                </c:pt>
                <c:pt idx="46">
                  <c:v>631</c:v>
                </c:pt>
                <c:pt idx="47">
                  <c:v>5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A86-4476-B871-694E65B852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2083040"/>
        <c:axId val="592080960"/>
      </c:lineChart>
      <c:dateAx>
        <c:axId val="7120508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47136"/>
        <c:crosses val="autoZero"/>
        <c:auto val="1"/>
        <c:lblOffset val="100"/>
        <c:baseTimeUnit val="days"/>
      </c:dateAx>
      <c:valAx>
        <c:axId val="712047136"/>
        <c:scaling>
          <c:orientation val="minMax"/>
          <c:max val="8000"/>
          <c:min val="17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Standardní lůžka</a:t>
                </a:r>
              </a:p>
            </c:rich>
          </c:tx>
          <c:layout>
            <c:manualLayout>
              <c:xMode val="edge"/>
              <c:yMode val="edge"/>
              <c:x val="3.8641338415073595E-3"/>
              <c:y val="0.32176777861776218"/>
            </c:manualLayout>
          </c:layout>
          <c:overlay val="0"/>
          <c:spPr>
            <a:noFill/>
            <a:ln w="15875">
              <a:solidFill>
                <a:schemeClr val="accent1">
                  <a:lumMod val="75000"/>
                </a:schemeClr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2050880"/>
        <c:crosses val="autoZero"/>
        <c:crossBetween val="between"/>
      </c:valAx>
      <c:valAx>
        <c:axId val="592080960"/>
        <c:scaling>
          <c:orientation val="minMax"/>
          <c:min val="50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b="0">
                    <a:solidFill>
                      <a:sysClr val="windowText" lastClr="000000"/>
                    </a:solidFill>
                  </a:rPr>
                  <a:t>Intenzivní lůžka </a:t>
                </a:r>
              </a:p>
            </c:rich>
          </c:tx>
          <c:layout>
            <c:manualLayout>
              <c:xMode val="edge"/>
              <c:yMode val="edge"/>
              <c:x val="0.97101638157299319"/>
              <c:y val="0.31716722465630348"/>
            </c:manualLayout>
          </c:layout>
          <c:overlay val="0"/>
          <c:spPr>
            <a:noFill/>
            <a:ln w="15875">
              <a:solidFill>
                <a:schemeClr val="accent2"/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2083040"/>
        <c:crosses val="max"/>
        <c:crossBetween val="between"/>
      </c:valAx>
      <c:dateAx>
        <c:axId val="59208304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08096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6310</c:v>
                </c:pt>
                <c:pt idx="1">
                  <c:v>6341</c:v>
                </c:pt>
                <c:pt idx="2">
                  <c:v>6427</c:v>
                </c:pt>
                <c:pt idx="3">
                  <c:v>6525</c:v>
                </c:pt>
                <c:pt idx="4">
                  <c:v>6544</c:v>
                </c:pt>
                <c:pt idx="5">
                  <c:v>6145</c:v>
                </c:pt>
                <c:pt idx="6">
                  <c:v>6352</c:v>
                </c:pt>
                <c:pt idx="7">
                  <c:v>7048</c:v>
                </c:pt>
                <c:pt idx="8">
                  <c:v>7079</c:v>
                </c:pt>
                <c:pt idx="9">
                  <c:v>7171</c:v>
                </c:pt>
                <c:pt idx="10">
                  <c:v>7386</c:v>
                </c:pt>
                <c:pt idx="11">
                  <c:v>7483</c:v>
                </c:pt>
                <c:pt idx="12">
                  <c:v>7188</c:v>
                </c:pt>
                <c:pt idx="13">
                  <c:v>7452</c:v>
                </c:pt>
                <c:pt idx="14">
                  <c:v>8258</c:v>
                </c:pt>
                <c:pt idx="15">
                  <c:v>8440</c:v>
                </c:pt>
                <c:pt idx="16">
                  <c:v>8385</c:v>
                </c:pt>
                <c:pt idx="17">
                  <c:v>8390</c:v>
                </c:pt>
                <c:pt idx="18">
                  <c:v>8454</c:v>
                </c:pt>
                <c:pt idx="19">
                  <c:v>8110</c:v>
                </c:pt>
                <c:pt idx="20">
                  <c:v>8334</c:v>
                </c:pt>
                <c:pt idx="21">
                  <c:v>9009</c:v>
                </c:pt>
                <c:pt idx="22">
                  <c:v>8983</c:v>
                </c:pt>
                <c:pt idx="23">
                  <c:v>9003</c:v>
                </c:pt>
                <c:pt idx="24">
                  <c:v>8966</c:v>
                </c:pt>
                <c:pt idx="25">
                  <c:v>8934</c:v>
                </c:pt>
                <c:pt idx="26">
                  <c:v>8534</c:v>
                </c:pt>
                <c:pt idx="27">
                  <c:v>8748</c:v>
                </c:pt>
                <c:pt idx="28">
                  <c:v>9464</c:v>
                </c:pt>
                <c:pt idx="29">
                  <c:v>9332</c:v>
                </c:pt>
                <c:pt idx="30">
                  <c:v>9162</c:v>
                </c:pt>
                <c:pt idx="31">
                  <c:v>8955</c:v>
                </c:pt>
                <c:pt idx="32">
                  <c:v>8763</c:v>
                </c:pt>
                <c:pt idx="33">
                  <c:v>8204</c:v>
                </c:pt>
                <c:pt idx="34">
                  <c:v>8318</c:v>
                </c:pt>
                <c:pt idx="35">
                  <c:v>8954</c:v>
                </c:pt>
                <c:pt idx="36">
                  <c:v>8621</c:v>
                </c:pt>
                <c:pt idx="37">
                  <c:v>8304</c:v>
                </c:pt>
                <c:pt idx="38">
                  <c:v>8149</c:v>
                </c:pt>
                <c:pt idx="39">
                  <c:v>8028</c:v>
                </c:pt>
                <c:pt idx="40">
                  <c:v>7508</c:v>
                </c:pt>
                <c:pt idx="41">
                  <c:v>7558</c:v>
                </c:pt>
                <c:pt idx="42">
                  <c:v>8098</c:v>
                </c:pt>
                <c:pt idx="43">
                  <c:v>7830</c:v>
                </c:pt>
                <c:pt idx="44">
                  <c:v>7510</c:v>
                </c:pt>
                <c:pt idx="45">
                  <c:v>7206</c:v>
                </c:pt>
                <c:pt idx="46">
                  <c:v>6380</c:v>
                </c:pt>
                <c:pt idx="47">
                  <c:v>6229</c:v>
                </c:pt>
                <c:pt idx="48">
                  <c:v>6325</c:v>
                </c:pt>
                <c:pt idx="49">
                  <c:v>6393</c:v>
                </c:pt>
                <c:pt idx="50">
                  <c:v>7068</c:v>
                </c:pt>
                <c:pt idx="51">
                  <c:v>6714</c:v>
                </c:pt>
                <c:pt idx="52">
                  <c:v>6237</c:v>
                </c:pt>
                <c:pt idx="53">
                  <c:v>5921</c:v>
                </c:pt>
                <c:pt idx="54">
                  <c:v>5286</c:v>
                </c:pt>
                <c:pt idx="55">
                  <c:v>5241</c:v>
                </c:pt>
                <c:pt idx="56">
                  <c:v>5532</c:v>
                </c:pt>
                <c:pt idx="57">
                  <c:v>5224</c:v>
                </c:pt>
                <c:pt idx="58">
                  <c:v>4925</c:v>
                </c:pt>
                <c:pt idx="59">
                  <c:v>4667</c:v>
                </c:pt>
                <c:pt idx="60">
                  <c:v>4421</c:v>
                </c:pt>
                <c:pt idx="61">
                  <c:v>4021</c:v>
                </c:pt>
                <c:pt idx="62">
                  <c:v>4028</c:v>
                </c:pt>
                <c:pt idx="63">
                  <c:v>4304</c:v>
                </c:pt>
                <c:pt idx="64">
                  <c:v>4131</c:v>
                </c:pt>
                <c:pt idx="65">
                  <c:v>3972</c:v>
                </c:pt>
                <c:pt idx="66">
                  <c:v>3741</c:v>
                </c:pt>
                <c:pt idx="67">
                  <c:v>3537</c:v>
                </c:pt>
                <c:pt idx="68">
                  <c:v>3183</c:v>
                </c:pt>
                <c:pt idx="69">
                  <c:v>3183</c:v>
                </c:pt>
                <c:pt idx="70">
                  <c:v>3335</c:v>
                </c:pt>
                <c:pt idx="71">
                  <c:v>3165</c:v>
                </c:pt>
                <c:pt idx="72">
                  <c:v>3007</c:v>
                </c:pt>
                <c:pt idx="73">
                  <c:v>2830</c:v>
                </c:pt>
                <c:pt idx="74">
                  <c:v>2595</c:v>
                </c:pt>
                <c:pt idx="75">
                  <c:v>2401</c:v>
                </c:pt>
                <c:pt idx="76">
                  <c:v>2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7426.8491842441945</c:v>
                </c:pt>
                <c:pt idx="11">
                  <c:v>7641.2885885599235</c:v>
                </c:pt>
                <c:pt idx="12">
                  <c:v>7858.7733974309403</c:v>
                </c:pt>
                <c:pt idx="13">
                  <c:v>8080.8756470241578</c:v>
                </c:pt>
                <c:pt idx="14">
                  <c:v>8303.7918340452834</c:v>
                </c:pt>
                <c:pt idx="15">
                  <c:v>8520.4495690051208</c:v>
                </c:pt>
                <c:pt idx="16">
                  <c:v>8729.2493516752984</c:v>
                </c:pt>
                <c:pt idx="17">
                  <c:v>8923.2127582981848</c:v>
                </c:pt>
                <c:pt idx="18">
                  <c:v>9094.9550504792642</c:v>
                </c:pt>
                <c:pt idx="19">
                  <c:v>9244.2984538285218</c:v>
                </c:pt>
                <c:pt idx="20">
                  <c:v>9371.4411388932676</c:v>
                </c:pt>
                <c:pt idx="21">
                  <c:v>9472.5884748683129</c:v>
                </c:pt>
                <c:pt idx="22">
                  <c:v>9546.1786250814639</c:v>
                </c:pt>
                <c:pt idx="23">
                  <c:v>9593.6506055808859</c:v>
                </c:pt>
                <c:pt idx="24">
                  <c:v>9617.2526729955462</c:v>
                </c:pt>
                <c:pt idx="25">
                  <c:v>9619.1771934930184</c:v>
                </c:pt>
                <c:pt idx="26">
                  <c:v>9600.5731324596945</c:v>
                </c:pt>
                <c:pt idx="27">
                  <c:v>9562.0426167209662</c:v>
                </c:pt>
                <c:pt idx="28">
                  <c:v>9503.5506228442719</c:v>
                </c:pt>
                <c:pt idx="29">
                  <c:v>9426.8062612804042</c:v>
                </c:pt>
                <c:pt idx="30">
                  <c:v>9333.9796280685005</c:v>
                </c:pt>
                <c:pt idx="31">
                  <c:v>9226.8100015593973</c:v>
                </c:pt>
                <c:pt idx="32">
                  <c:v>9106.5364321818051</c:v>
                </c:pt>
                <c:pt idx="33">
                  <c:v>8974.6868556154459</c:v>
                </c:pt>
                <c:pt idx="34">
                  <c:v>8833.0057791238651</c:v>
                </c:pt>
                <c:pt idx="35">
                  <c:v>8682.4813127953385</c:v>
                </c:pt>
                <c:pt idx="36">
                  <c:v>8524.4538241035316</c:v>
                </c:pt>
                <c:pt idx="37">
                  <c:v>8360.0207496982239</c:v>
                </c:pt>
                <c:pt idx="38">
                  <c:v>8190.0100184020584</c:v>
                </c:pt>
                <c:pt idx="39">
                  <c:v>8015.5164645318864</c:v>
                </c:pt>
                <c:pt idx="40">
                  <c:v>7837.5822790957545</c:v>
                </c:pt>
                <c:pt idx="41">
                  <c:v>7656.9110186796343</c:v>
                </c:pt>
                <c:pt idx="42">
                  <c:v>7474.1573623288295</c:v>
                </c:pt>
                <c:pt idx="43">
                  <c:v>7290.0887941771989</c:v>
                </c:pt>
                <c:pt idx="44">
                  <c:v>7105.2529061667101</c:v>
                </c:pt>
                <c:pt idx="45">
                  <c:v>6920.1492689128791</c:v>
                </c:pt>
                <c:pt idx="46">
                  <c:v>6735.342094785774</c:v>
                </c:pt>
                <c:pt idx="47">
                  <c:v>6551.1772442467136</c:v>
                </c:pt>
                <c:pt idx="48">
                  <c:v>6369.6818716982752</c:v>
                </c:pt>
                <c:pt idx="49">
                  <c:v>6191.14257632717</c:v>
                </c:pt>
                <c:pt idx="50">
                  <c:v>6015.6800914217065</c:v>
                </c:pt>
                <c:pt idx="51">
                  <c:v>5843.4320802559569</c:v>
                </c:pt>
                <c:pt idx="52">
                  <c:v>5674.4870437275986</c:v>
                </c:pt>
                <c:pt idx="53">
                  <c:v>5508.8876394518329</c:v>
                </c:pt>
                <c:pt idx="54">
                  <c:v>5346.7253900737824</c:v>
                </c:pt>
                <c:pt idx="55">
                  <c:v>5188.0885085985356</c:v>
                </c:pt>
                <c:pt idx="56">
                  <c:v>5033.0442936686341</c:v>
                </c:pt>
                <c:pt idx="57">
                  <c:v>4881.6233763704449</c:v>
                </c:pt>
                <c:pt idx="58">
                  <c:v>4733.8492870612527</c:v>
                </c:pt>
                <c:pt idx="59">
                  <c:v>4589.7525521492007</c:v>
                </c:pt>
                <c:pt idx="60">
                  <c:v>4449.3294123228152</c:v>
                </c:pt>
                <c:pt idx="61">
                  <c:v>4312.5383723072573</c:v>
                </c:pt>
                <c:pt idx="62">
                  <c:v>4179.2096796089745</c:v>
                </c:pt>
                <c:pt idx="63">
                  <c:v>4049.1892020755904</c:v>
                </c:pt>
                <c:pt idx="64">
                  <c:v>3922.5826558302429</c:v>
                </c:pt>
                <c:pt idx="65">
                  <c:v>3799.420499892321</c:v>
                </c:pt>
                <c:pt idx="66">
                  <c:v>3679.6823541430986</c:v>
                </c:pt>
                <c:pt idx="67">
                  <c:v>3563.364926006409</c:v>
                </c:pt>
                <c:pt idx="68">
                  <c:v>3450.4609229791427</c:v>
                </c:pt>
                <c:pt idx="69">
                  <c:v>3340.9201847728</c:v>
                </c:pt>
                <c:pt idx="70">
                  <c:v>3234.7102726468447</c:v>
                </c:pt>
                <c:pt idx="71">
                  <c:v>3132.5180477344002</c:v>
                </c:pt>
                <c:pt idx="72">
                  <c:v>3034.8192170870798</c:v>
                </c:pt>
                <c:pt idx="73">
                  <c:v>2941.8625687581357</c:v>
                </c:pt>
                <c:pt idx="74">
                  <c:v>2853.76379202818</c:v>
                </c:pt>
                <c:pt idx="75">
                  <c:v>2770.5602045381074</c:v>
                </c:pt>
                <c:pt idx="76">
                  <c:v>2692.246918019508</c:v>
                </c:pt>
                <c:pt idx="77">
                  <c:v>2618.798193780673</c:v>
                </c:pt>
                <c:pt idx="78">
                  <c:v>2550.1883841627828</c:v>
                </c:pt>
                <c:pt idx="79">
                  <c:v>2486.3734739102861</c:v>
                </c:pt>
                <c:pt idx="80">
                  <c:v>2427.258546612135</c:v>
                </c:pt>
                <c:pt idx="81">
                  <c:v>2372.6864885357445</c:v>
                </c:pt>
                <c:pt idx="82">
                  <c:v>2322.4479529265518</c:v>
                </c:pt>
                <c:pt idx="83">
                  <c:v>2276.3013321467274</c:v>
                </c:pt>
                <c:pt idx="84">
                  <c:v>2233.9649761603914</c:v>
                </c:pt>
                <c:pt idx="85">
                  <c:v>2195.1326465706366</c:v>
                </c:pt>
                <c:pt idx="86">
                  <c:v>2159.4861666696311</c:v>
                </c:pt>
                <c:pt idx="87">
                  <c:v>2126.7073747377999</c:v>
                </c:pt>
                <c:pt idx="88">
                  <c:v>2096.4868292186015</c:v>
                </c:pt>
                <c:pt idx="89">
                  <c:v>2068.5296363381899</c:v>
                </c:pt>
                <c:pt idx="90">
                  <c:v>2042.5561249189477</c:v>
                </c:pt>
                <c:pt idx="91">
                  <c:v>2018.3022020011899</c:v>
                </c:pt>
                <c:pt idx="92">
                  <c:v>1995.518722848054</c:v>
                </c:pt>
                <c:pt idx="93">
                  <c:v>1973.9787205801392</c:v>
                </c:pt>
                <c:pt idx="94">
                  <c:v>1953.4805919230546</c:v>
                </c:pt>
                <c:pt idx="95">
                  <c:v>1933.8480410093039</c:v>
                </c:pt>
                <c:pt idx="96">
                  <c:v>1914.9280024510178</c:v>
                </c:pt>
                <c:pt idx="97">
                  <c:v>1896.5870016107658</c:v>
                </c:pt>
                <c:pt idx="98">
                  <c:v>1878.7245339652259</c:v>
                </c:pt>
                <c:pt idx="99">
                  <c:v>1861.2655973864325</c:v>
                </c:pt>
                <c:pt idx="100">
                  <c:v>1844.1534808529698</c:v>
                </c:pt>
                <c:pt idx="101">
                  <c:v>1827.3448641063899</c:v>
                </c:pt>
                <c:pt idx="102">
                  <c:v>1810.8058850418565</c:v>
                </c:pt>
                <c:pt idx="103">
                  <c:v>1794.5103092201423</c:v>
                </c:pt>
                <c:pt idx="104">
                  <c:v>1778.4376019176916</c:v>
                </c:pt>
                <c:pt idx="105">
                  <c:v>1762.5711082779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7390.376078888994</c:v>
                </c:pt>
                <c:pt idx="11">
                  <c:v>7560.5663616120992</c:v>
                </c:pt>
                <c:pt idx="12">
                  <c:v>7731.759888923496</c:v>
                </c:pt>
                <c:pt idx="13">
                  <c:v>7906.3614437905435</c:v>
                </c:pt>
                <c:pt idx="14">
                  <c:v>8081.0306685990772</c:v>
                </c:pt>
                <c:pt idx="15">
                  <c:v>8248.8358272626447</c:v>
                </c:pt>
                <c:pt idx="16">
                  <c:v>8408.4235352037649</c:v>
                </c:pt>
                <c:pt idx="17">
                  <c:v>8553.4595334598653</c:v>
                </c:pt>
                <c:pt idx="18">
                  <c:v>8677.5263222338017</c:v>
                </c:pt>
                <c:pt idx="19">
                  <c:v>8780.8848523242159</c:v>
                </c:pt>
                <c:pt idx="20">
                  <c:v>8864.5370259415486</c:v>
                </c:pt>
                <c:pt idx="21">
                  <c:v>8925.6691299824433</c:v>
                </c:pt>
                <c:pt idx="22">
                  <c:v>8962.8370098400901</c:v>
                </c:pt>
                <c:pt idx="23">
                  <c:v>8977.1357322977565</c:v>
                </c:pt>
                <c:pt idx="24">
                  <c:v>8970.5099558108395</c:v>
                </c:pt>
                <c:pt idx="25">
                  <c:v>8944.9483710805962</c:v>
                </c:pt>
                <c:pt idx="26">
                  <c:v>8901.2184566174383</c:v>
                </c:pt>
                <c:pt idx="27">
                  <c:v>8839.545984773391</c:v>
                </c:pt>
                <c:pt idx="28">
                  <c:v>8759.6368819682466</c:v>
                </c:pt>
                <c:pt idx="29">
                  <c:v>8662.9599938767187</c:v>
                </c:pt>
                <c:pt idx="30">
                  <c:v>8551.5235222076753</c:v>
                </c:pt>
                <c:pt idx="31">
                  <c:v>8426.8782468293412</c:v>
                </c:pt>
                <c:pt idx="32">
                  <c:v>8289.9503448128726</c:v>
                </c:pt>
                <c:pt idx="33">
                  <c:v>8141.8268934944235</c:v>
                </c:pt>
                <c:pt idx="34">
                  <c:v>7983.9742670862415</c:v>
                </c:pt>
                <c:pt idx="35">
                  <c:v>7817.336781502192</c:v>
                </c:pt>
                <c:pt idx="36">
                  <c:v>7643.2841439087324</c:v>
                </c:pt>
                <c:pt idx="37">
                  <c:v>7462.8807235054155</c:v>
                </c:pt>
                <c:pt idx="38">
                  <c:v>7276.9664777328026</c:v>
                </c:pt>
                <c:pt idx="39">
                  <c:v>7086.6495252608902</c:v>
                </c:pt>
                <c:pt idx="40">
                  <c:v>6893.023133288345</c:v>
                </c:pt>
                <c:pt idx="41">
                  <c:v>6696.9343451260074</c:v>
                </c:pt>
                <c:pt idx="42">
                  <c:v>6499.1881300981377</c:v>
                </c:pt>
                <c:pt idx="43">
                  <c:v>6300.7258193655734</c:v>
                </c:pt>
                <c:pt idx="44">
                  <c:v>6102.2622422534714</c:v>
                </c:pt>
                <c:pt idx="45">
                  <c:v>5904.4599146211976</c:v>
                </c:pt>
                <c:pt idx="46">
                  <c:v>5708.0332198479173</c:v>
                </c:pt>
                <c:pt idx="47">
                  <c:v>5513.4814572506493</c:v>
                </c:pt>
                <c:pt idx="48">
                  <c:v>5322.7011502115347</c:v>
                </c:pt>
                <c:pt idx="49">
                  <c:v>5136.0989921154878</c:v>
                </c:pt>
                <c:pt idx="50">
                  <c:v>4953.9156434867891</c:v>
                </c:pt>
                <c:pt idx="51">
                  <c:v>4776.3712721748889</c:v>
                </c:pt>
                <c:pt idx="52">
                  <c:v>4603.6305168492181</c:v>
                </c:pt>
                <c:pt idx="53">
                  <c:v>4435.809941559769</c:v>
                </c:pt>
                <c:pt idx="54">
                  <c:v>4272.9564371910619</c:v>
                </c:pt>
                <c:pt idx="55">
                  <c:v>4115.0384719323229</c:v>
                </c:pt>
                <c:pt idx="56">
                  <c:v>3961.9641177195499</c:v>
                </c:pt>
                <c:pt idx="57">
                  <c:v>3813.5845495850799</c:v>
                </c:pt>
                <c:pt idx="58">
                  <c:v>3669.7408370515359</c:v>
                </c:pt>
                <c:pt idx="59">
                  <c:v>3530.2881179976384</c:v>
                </c:pt>
                <c:pt idx="60">
                  <c:v>3395.1171497090209</c:v>
                </c:pt>
                <c:pt idx="61">
                  <c:v>3264.1483301280509</c:v>
                </c:pt>
                <c:pt idx="62">
                  <c:v>3137.2160545631791</c:v>
                </c:pt>
                <c:pt idx="63">
                  <c:v>3014.1802134697659</c:v>
                </c:pt>
                <c:pt idx="64">
                  <c:v>2895.0883333579691</c:v>
                </c:pt>
                <c:pt idx="65">
                  <c:v>2779.8923620749533</c:v>
                </c:pt>
                <c:pt idx="66">
                  <c:v>2668.513455558385</c:v>
                </c:pt>
                <c:pt idx="67">
                  <c:v>2560.9187104228104</c:v>
                </c:pt>
                <c:pt idx="68">
                  <c:v>2457.104579352324</c:v>
                </c:pt>
                <c:pt idx="69">
                  <c:v>2357.0409803930156</c:v>
                </c:pt>
                <c:pt idx="70">
                  <c:v>2260.7080044390395</c:v>
                </c:pt>
                <c:pt idx="71">
                  <c:v>2168.5236942264246</c:v>
                </c:pt>
                <c:pt idx="72">
                  <c:v>2080.7339332177116</c:v>
                </c:pt>
                <c:pt idx="73">
                  <c:v>1997.4336124521719</c:v>
                </c:pt>
                <c:pt idx="74">
                  <c:v>1918.6324270671246</c:v>
                </c:pt>
                <c:pt idx="75">
                  <c:v>1844.2905732759427</c:v>
                </c:pt>
                <c:pt idx="76">
                  <c:v>1774.3407353181883</c:v>
                </c:pt>
                <c:pt idx="77">
                  <c:v>1708.6961356804984</c:v>
                </c:pt>
                <c:pt idx="78">
                  <c:v>1647.2488107708523</c:v>
                </c:pt>
                <c:pt idx="79">
                  <c:v>1589.8597401378745</c:v>
                </c:pt>
                <c:pt idx="80">
                  <c:v>1536.3621653024416</c:v>
                </c:pt>
                <c:pt idx="81">
                  <c:v>1486.5615048056395</c:v>
                </c:pt>
                <c:pt idx="82">
                  <c:v>1440.2383156176234</c:v>
                </c:pt>
                <c:pt idx="83">
                  <c:v>1397.0711114147584</c:v>
                </c:pt>
                <c:pt idx="84">
                  <c:v>1356.6775706780152</c:v>
                </c:pt>
                <c:pt idx="85">
                  <c:v>1318.6556962910968</c:v>
                </c:pt>
                <c:pt idx="86">
                  <c:v>1282.6038164750046</c:v>
                </c:pt>
                <c:pt idx="87">
                  <c:v>1248.16780305578</c:v>
                </c:pt>
                <c:pt idx="88">
                  <c:v>1215.0369875384508</c:v>
                </c:pt>
                <c:pt idx="89">
                  <c:v>1182.9366880523062</c:v>
                </c:pt>
                <c:pt idx="90">
                  <c:v>1151.6216380273365</c:v>
                </c:pt>
                <c:pt idx="91">
                  <c:v>1120.8733152870509</c:v>
                </c:pt>
                <c:pt idx="92">
                  <c:v>1090.5579626511567</c:v>
                </c:pt>
                <c:pt idx="93">
                  <c:v>1060.6079443164761</c:v>
                </c:pt>
                <c:pt idx="94">
                  <c:v>1031.0022258806455</c:v>
                </c:pt>
                <c:pt idx="95">
                  <c:v>1001.7507720976462</c:v>
                </c:pt>
                <c:pt idx="96">
                  <c:v>972.88267690425448</c:v>
                </c:pt>
                <c:pt idx="97">
                  <c:v>944.43700909276265</c:v>
                </c:pt>
                <c:pt idx="98">
                  <c:v>916.45759145203431</c:v>
                </c:pt>
                <c:pt idx="99">
                  <c:v>888.9921957573946</c:v>
                </c:pt>
                <c:pt idx="100">
                  <c:v>862.09603725550801</c:v>
                </c:pt>
                <c:pt idx="101">
                  <c:v>835.82544682989305</c:v>
                </c:pt>
                <c:pt idx="102">
                  <c:v>810.23205399591552</c:v>
                </c:pt>
                <c:pt idx="103">
                  <c:v>785.35943292395098</c:v>
                </c:pt>
                <c:pt idx="104">
                  <c:v>761.24232753317153</c:v>
                </c:pt>
                <c:pt idx="105">
                  <c:v>737.90723586154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7445.066791190713</c:v>
                </c:pt>
                <c:pt idx="11">
                  <c:v>7683.2928553793045</c:v>
                </c:pt>
                <c:pt idx="12">
                  <c:v>7927.5036554373874</c:v>
                </c:pt>
                <c:pt idx="13">
                  <c:v>8178.8407071724523</c:v>
                </c:pt>
                <c:pt idx="14">
                  <c:v>8433.2297068548633</c:v>
                </c:pt>
                <c:pt idx="15">
                  <c:v>8683.4860314971902</c:v>
                </c:pt>
                <c:pt idx="16">
                  <c:v>8927.8341552411457</c:v>
                </c:pt>
                <c:pt idx="17">
                  <c:v>9158.9015366558306</c:v>
                </c:pt>
                <c:pt idx="18">
                  <c:v>9368.663691722064</c:v>
                </c:pt>
                <c:pt idx="19">
                  <c:v>9556.5085497429736</c:v>
                </c:pt>
                <c:pt idx="20">
                  <c:v>9721.9991608728033</c:v>
                </c:pt>
                <c:pt idx="21">
                  <c:v>9860.604538894615</c:v>
                </c:pt>
                <c:pt idx="22">
                  <c:v>9970.409506576616</c:v>
                </c:pt>
                <c:pt idx="23">
                  <c:v>10052.722249482642</c:v>
                </c:pt>
                <c:pt idx="24">
                  <c:v>10109.642928074862</c:v>
                </c:pt>
                <c:pt idx="25">
                  <c:v>10143.178943764886</c:v>
                </c:pt>
                <c:pt idx="26">
                  <c:v>10154.409892875401</c:v>
                </c:pt>
                <c:pt idx="27">
                  <c:v>10143.913370193412</c:v>
                </c:pt>
                <c:pt idx="28">
                  <c:v>10111.628752794104</c:v>
                </c:pt>
                <c:pt idx="29">
                  <c:v>10059.250531358719</c:v>
                </c:pt>
                <c:pt idx="30">
                  <c:v>9988.9190624145431</c:v>
                </c:pt>
                <c:pt idx="31">
                  <c:v>9902.3514265336453</c:v>
                </c:pt>
                <c:pt idx="32">
                  <c:v>9800.8373788582285</c:v>
                </c:pt>
                <c:pt idx="33">
                  <c:v>9686.0556333873883</c:v>
                </c:pt>
                <c:pt idx="34">
                  <c:v>9559.8669000297923</c:v>
                </c:pt>
                <c:pt idx="35">
                  <c:v>9423.3101085894687</c:v>
                </c:pt>
                <c:pt idx="36">
                  <c:v>9277.7862144212249</c:v>
                </c:pt>
                <c:pt idx="37">
                  <c:v>9124.5093254181265</c:v>
                </c:pt>
                <c:pt idx="38">
                  <c:v>8964.4131323599649</c:v>
                </c:pt>
                <c:pt idx="39">
                  <c:v>8798.7147582139787</c:v>
                </c:pt>
                <c:pt idx="40">
                  <c:v>8628.5864473178681</c:v>
                </c:pt>
                <c:pt idx="41">
                  <c:v>8454.7940666114318</c:v>
                </c:pt>
                <c:pt idx="42">
                  <c:v>8278.0384528384766</c:v>
                </c:pt>
                <c:pt idx="43">
                  <c:v>8099.1398565369373</c:v>
                </c:pt>
                <c:pt idx="44">
                  <c:v>7918.7090367630908</c:v>
                </c:pt>
                <c:pt idx="45">
                  <c:v>7737.3188344419905</c:v>
                </c:pt>
                <c:pt idx="46">
                  <c:v>7555.6237625192007</c:v>
                </c:pt>
                <c:pt idx="47">
                  <c:v>7374.0544184679966</c:v>
                </c:pt>
                <c:pt idx="48">
                  <c:v>7194.8907245393248</c:v>
                </c:pt>
                <c:pt idx="49">
                  <c:v>7018.4283971524101</c:v>
                </c:pt>
                <c:pt idx="50">
                  <c:v>6844.8206277902764</c:v>
                </c:pt>
                <c:pt idx="51">
                  <c:v>6674.2623915119702</c:v>
                </c:pt>
                <c:pt idx="52">
                  <c:v>6506.9242344970125</c:v>
                </c:pt>
                <c:pt idx="53">
                  <c:v>6342.9497603710461</c:v>
                </c:pt>
                <c:pt idx="54">
                  <c:v>6182.4807127655695</c:v>
                </c:pt>
                <c:pt idx="55">
                  <c:v>6025.6116742315899</c:v>
                </c:pt>
                <c:pt idx="56">
                  <c:v>5872.3909531744248</c:v>
                </c:pt>
                <c:pt idx="57">
                  <c:v>5722.818215296119</c:v>
                </c:pt>
                <c:pt idx="58">
                  <c:v>5576.880127703751</c:v>
                </c:pt>
                <c:pt idx="59">
                  <c:v>5434.5685766589741</c:v>
                </c:pt>
                <c:pt idx="60">
                  <c:v>5295.8979267290197</c:v>
                </c:pt>
                <c:pt idx="61">
                  <c:v>5160.8988644035244</c:v>
                </c:pt>
                <c:pt idx="62">
                  <c:v>5029.507415074765</c:v>
                </c:pt>
                <c:pt idx="63">
                  <c:v>4901.6722166798763</c:v>
                </c:pt>
                <c:pt idx="64">
                  <c:v>4777.3897357680271</c:v>
                </c:pt>
                <c:pt idx="65">
                  <c:v>4656.5814728264013</c:v>
                </c:pt>
                <c:pt idx="66">
                  <c:v>4539.1515768147619</c:v>
                </c:pt>
                <c:pt idx="67">
                  <c:v>4425.0521293648935</c:v>
                </c:pt>
                <c:pt idx="68">
                  <c:v>4314.2415428973018</c:v>
                </c:pt>
                <c:pt idx="69">
                  <c:v>4206.6384886395517</c:v>
                </c:pt>
                <c:pt idx="70">
                  <c:v>4102.169410650371</c:v>
                </c:pt>
                <c:pt idx="71">
                  <c:v>4000.7681398717559</c:v>
                </c:pt>
                <c:pt idx="72">
                  <c:v>3902.3602346390849</c:v>
                </c:pt>
                <c:pt idx="73">
                  <c:v>3806.8695634724681</c:v>
                </c:pt>
                <c:pt idx="74">
                  <c:v>3714.2197987895802</c:v>
                </c:pt>
                <c:pt idx="75">
                  <c:v>3624.3346292297729</c:v>
                </c:pt>
                <c:pt idx="76">
                  <c:v>3537.1373657322065</c:v>
                </c:pt>
                <c:pt idx="77">
                  <c:v>3452.5515163372265</c:v>
                </c:pt>
                <c:pt idx="78">
                  <c:v>3370.5010180504528</c:v>
                </c:pt>
                <c:pt idx="79">
                  <c:v>3290.9100809288525</c:v>
                </c:pt>
                <c:pt idx="80">
                  <c:v>3213.7036620639938</c:v>
                </c:pt>
                <c:pt idx="81">
                  <c:v>3138.8077139150005</c:v>
                </c:pt>
                <c:pt idx="82">
                  <c:v>3066.149209609529</c:v>
                </c:pt>
                <c:pt idx="83">
                  <c:v>2995.6563044153677</c:v>
                </c:pt>
                <c:pt idx="84">
                  <c:v>2927.2585040506242</c:v>
                </c:pt>
                <c:pt idx="85">
                  <c:v>2860.8866912581957</c:v>
                </c:pt>
                <c:pt idx="86">
                  <c:v>2796.4730925708832</c:v>
                </c:pt>
                <c:pt idx="87">
                  <c:v>2733.9514118582142</c:v>
                </c:pt>
                <c:pt idx="88">
                  <c:v>2673.2569309225064</c:v>
                </c:pt>
                <c:pt idx="89">
                  <c:v>2614.3265568015354</c:v>
                </c:pt>
                <c:pt idx="90">
                  <c:v>2557.0988177556069</c:v>
                </c:pt>
                <c:pt idx="91">
                  <c:v>2501.513845808237</c:v>
                </c:pt>
                <c:pt idx="92">
                  <c:v>2447.5134224730709</c:v>
                </c:pt>
                <c:pt idx="93">
                  <c:v>2395.0409723346834</c:v>
                </c:pt>
                <c:pt idx="94">
                  <c:v>2344.0415388401793</c:v>
                </c:pt>
                <c:pt idx="95">
                  <c:v>2294.4617873935317</c:v>
                </c:pt>
                <c:pt idx="96">
                  <c:v>2246.2500101165147</c:v>
                </c:pt>
                <c:pt idx="97">
                  <c:v>2199.356119954693</c:v>
                </c:pt>
                <c:pt idx="98">
                  <c:v>2153.7316205690654</c:v>
                </c:pt>
                <c:pt idx="99">
                  <c:v>2109.3295667916805</c:v>
                </c:pt>
                <c:pt idx="100">
                  <c:v>2066.1045478985202</c:v>
                </c:pt>
                <c:pt idx="101">
                  <c:v>2024.0126691892413</c:v>
                </c:pt>
                <c:pt idx="102">
                  <c:v>1983.0115196377828</c:v>
                </c:pt>
                <c:pt idx="103">
                  <c:v>1943.060142473583</c:v>
                </c:pt>
                <c:pt idx="104">
                  <c:v>1904.1190045077831</c:v>
                </c:pt>
                <c:pt idx="105">
                  <c:v>1866.14996428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170</c:v>
                </c:pt>
                <c:pt idx="1">
                  <c:v>1213</c:v>
                </c:pt>
                <c:pt idx="2">
                  <c:v>1241</c:v>
                </c:pt>
                <c:pt idx="3">
                  <c:v>1266</c:v>
                </c:pt>
                <c:pt idx="4">
                  <c:v>1270</c:v>
                </c:pt>
                <c:pt idx="5">
                  <c:v>1269</c:v>
                </c:pt>
                <c:pt idx="6">
                  <c:v>1282</c:v>
                </c:pt>
                <c:pt idx="7">
                  <c:v>1362</c:v>
                </c:pt>
                <c:pt idx="8">
                  <c:v>1391</c:v>
                </c:pt>
                <c:pt idx="9">
                  <c:v>1410</c:v>
                </c:pt>
                <c:pt idx="10">
                  <c:v>1464</c:v>
                </c:pt>
                <c:pt idx="11">
                  <c:v>1439</c:v>
                </c:pt>
                <c:pt idx="12">
                  <c:v>1466</c:v>
                </c:pt>
                <c:pt idx="13">
                  <c:v>1503</c:v>
                </c:pt>
                <c:pt idx="14">
                  <c:v>1586</c:v>
                </c:pt>
                <c:pt idx="15">
                  <c:v>1598</c:v>
                </c:pt>
                <c:pt idx="16">
                  <c:v>1625</c:v>
                </c:pt>
                <c:pt idx="17">
                  <c:v>1651</c:v>
                </c:pt>
                <c:pt idx="18">
                  <c:v>1671</c:v>
                </c:pt>
                <c:pt idx="19">
                  <c:v>1675</c:v>
                </c:pt>
                <c:pt idx="20">
                  <c:v>1677</c:v>
                </c:pt>
                <c:pt idx="21">
                  <c:v>1773</c:v>
                </c:pt>
                <c:pt idx="22">
                  <c:v>1802</c:v>
                </c:pt>
                <c:pt idx="23">
                  <c:v>1831</c:v>
                </c:pt>
                <c:pt idx="24">
                  <c:v>1821</c:v>
                </c:pt>
                <c:pt idx="25">
                  <c:v>1833</c:v>
                </c:pt>
                <c:pt idx="26">
                  <c:v>1782</c:v>
                </c:pt>
                <c:pt idx="27">
                  <c:v>1829</c:v>
                </c:pt>
                <c:pt idx="28">
                  <c:v>1886</c:v>
                </c:pt>
                <c:pt idx="29">
                  <c:v>1893</c:v>
                </c:pt>
                <c:pt idx="30">
                  <c:v>1861</c:v>
                </c:pt>
                <c:pt idx="31">
                  <c:v>1858</c:v>
                </c:pt>
                <c:pt idx="32">
                  <c:v>1817</c:v>
                </c:pt>
                <c:pt idx="33">
                  <c:v>1778</c:v>
                </c:pt>
                <c:pt idx="34">
                  <c:v>1802</c:v>
                </c:pt>
                <c:pt idx="35">
                  <c:v>1822</c:v>
                </c:pt>
                <c:pt idx="36">
                  <c:v>1774</c:v>
                </c:pt>
                <c:pt idx="37">
                  <c:v>1742</c:v>
                </c:pt>
                <c:pt idx="38">
                  <c:v>1741</c:v>
                </c:pt>
                <c:pt idx="39">
                  <c:v>1679</c:v>
                </c:pt>
                <c:pt idx="40">
                  <c:v>1644</c:v>
                </c:pt>
                <c:pt idx="41">
                  <c:v>1654</c:v>
                </c:pt>
                <c:pt idx="42">
                  <c:v>1664</c:v>
                </c:pt>
                <c:pt idx="43">
                  <c:v>1614</c:v>
                </c:pt>
                <c:pt idx="44">
                  <c:v>1555</c:v>
                </c:pt>
                <c:pt idx="45">
                  <c:v>1508</c:v>
                </c:pt>
                <c:pt idx="46">
                  <c:v>1427</c:v>
                </c:pt>
                <c:pt idx="47">
                  <c:v>1402</c:v>
                </c:pt>
                <c:pt idx="48">
                  <c:v>1382</c:v>
                </c:pt>
                <c:pt idx="49">
                  <c:v>1348</c:v>
                </c:pt>
                <c:pt idx="50">
                  <c:v>1398</c:v>
                </c:pt>
                <c:pt idx="51">
                  <c:v>1365</c:v>
                </c:pt>
                <c:pt idx="52">
                  <c:v>1316</c:v>
                </c:pt>
                <c:pt idx="53">
                  <c:v>1238</c:v>
                </c:pt>
                <c:pt idx="54">
                  <c:v>1222</c:v>
                </c:pt>
                <c:pt idx="55">
                  <c:v>1205</c:v>
                </c:pt>
                <c:pt idx="56">
                  <c:v>1191</c:v>
                </c:pt>
                <c:pt idx="57">
                  <c:v>1163</c:v>
                </c:pt>
                <c:pt idx="58">
                  <c:v>1119</c:v>
                </c:pt>
                <c:pt idx="59">
                  <c:v>1041</c:v>
                </c:pt>
                <c:pt idx="60">
                  <c:v>1019</c:v>
                </c:pt>
                <c:pt idx="61">
                  <c:v>978</c:v>
                </c:pt>
                <c:pt idx="62">
                  <c:v>981</c:v>
                </c:pt>
                <c:pt idx="63">
                  <c:v>999</c:v>
                </c:pt>
                <c:pt idx="64">
                  <c:v>949</c:v>
                </c:pt>
                <c:pt idx="65">
                  <c:v>915</c:v>
                </c:pt>
                <c:pt idx="66">
                  <c:v>838</c:v>
                </c:pt>
                <c:pt idx="67">
                  <c:v>792</c:v>
                </c:pt>
                <c:pt idx="68">
                  <c:v>757</c:v>
                </c:pt>
                <c:pt idx="69">
                  <c:v>766</c:v>
                </c:pt>
                <c:pt idx="70">
                  <c:v>743</c:v>
                </c:pt>
                <c:pt idx="71">
                  <c:v>715</c:v>
                </c:pt>
                <c:pt idx="72">
                  <c:v>685</c:v>
                </c:pt>
                <c:pt idx="73">
                  <c:v>624</c:v>
                </c:pt>
                <c:pt idx="74">
                  <c:v>554</c:v>
                </c:pt>
                <c:pt idx="75">
                  <c:v>534</c:v>
                </c:pt>
                <c:pt idx="76">
                  <c:v>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1485.369836848839</c:v>
                </c:pt>
                <c:pt idx="11">
                  <c:v>1528.2577177119847</c:v>
                </c:pt>
                <c:pt idx="12">
                  <c:v>1571.7546794861883</c:v>
                </c:pt>
                <c:pt idx="13">
                  <c:v>1616.1751294048318</c:v>
                </c:pt>
                <c:pt idx="14">
                  <c:v>1660.7583668090567</c:v>
                </c:pt>
                <c:pt idx="15">
                  <c:v>1704.0899138010243</c:v>
                </c:pt>
                <c:pt idx="16">
                  <c:v>1745.8498703350597</c:v>
                </c:pt>
                <c:pt idx="17">
                  <c:v>1784.6425516596371</c:v>
                </c:pt>
                <c:pt idx="18">
                  <c:v>1818.991010095853</c:v>
                </c:pt>
                <c:pt idx="19">
                  <c:v>1848.8596907657045</c:v>
                </c:pt>
                <c:pt idx="20">
                  <c:v>1874.2882277786537</c:v>
                </c:pt>
                <c:pt idx="21">
                  <c:v>1894.5176949736626</c:v>
                </c:pt>
                <c:pt idx="22">
                  <c:v>1909.2357250162929</c:v>
                </c:pt>
                <c:pt idx="23">
                  <c:v>1918.7301211161773</c:v>
                </c:pt>
                <c:pt idx="24">
                  <c:v>1923.4505345991092</c:v>
                </c:pt>
                <c:pt idx="25">
                  <c:v>1923.8354386986039</c:v>
                </c:pt>
                <c:pt idx="26">
                  <c:v>1920.1146264919389</c:v>
                </c:pt>
                <c:pt idx="27">
                  <c:v>1912.4085233441933</c:v>
                </c:pt>
                <c:pt idx="28">
                  <c:v>1900.7101245688546</c:v>
                </c:pt>
                <c:pt idx="29">
                  <c:v>1885.3612522560809</c:v>
                </c:pt>
                <c:pt idx="30">
                  <c:v>1866.7959256137001</c:v>
                </c:pt>
                <c:pt idx="31">
                  <c:v>1845.3620003118795</c:v>
                </c:pt>
                <c:pt idx="32">
                  <c:v>1821.3072864363612</c:v>
                </c:pt>
                <c:pt idx="33">
                  <c:v>1794.9373711230892</c:v>
                </c:pt>
                <c:pt idx="34">
                  <c:v>1766.6011558247731</c:v>
                </c:pt>
                <c:pt idx="35">
                  <c:v>1736.4962625590679</c:v>
                </c:pt>
                <c:pt idx="36">
                  <c:v>1704.8907648207064</c:v>
                </c:pt>
                <c:pt idx="37">
                  <c:v>1672.0041499396448</c:v>
                </c:pt>
                <c:pt idx="38">
                  <c:v>1638.0020036804117</c:v>
                </c:pt>
                <c:pt idx="39">
                  <c:v>1603.1032929063774</c:v>
                </c:pt>
                <c:pt idx="40">
                  <c:v>1567.5164558191509</c:v>
                </c:pt>
                <c:pt idx="41">
                  <c:v>1531.3822037359269</c:v>
                </c:pt>
                <c:pt idx="42">
                  <c:v>1494.831472465766</c:v>
                </c:pt>
                <c:pt idx="43">
                  <c:v>1458.01775883544</c:v>
                </c:pt>
                <c:pt idx="44">
                  <c:v>1421.0505812333422</c:v>
                </c:pt>
                <c:pt idx="45">
                  <c:v>1384.0298537825759</c:v>
                </c:pt>
                <c:pt idx="46">
                  <c:v>1347.0684189571548</c:v>
                </c:pt>
                <c:pt idx="47">
                  <c:v>1310.2354488493429</c:v>
                </c:pt>
                <c:pt idx="48">
                  <c:v>1273.9363743396552</c:v>
                </c:pt>
                <c:pt idx="49">
                  <c:v>1238.228515265434</c:v>
                </c:pt>
                <c:pt idx="50">
                  <c:v>1203.1360182843414</c:v>
                </c:pt>
                <c:pt idx="51">
                  <c:v>1168.6864160511914</c:v>
                </c:pt>
                <c:pt idx="52">
                  <c:v>1134.8974087455197</c:v>
                </c:pt>
                <c:pt idx="53">
                  <c:v>1101.7775278903666</c:v>
                </c:pt>
                <c:pt idx="54">
                  <c:v>1069.3450780147566</c:v>
                </c:pt>
                <c:pt idx="55">
                  <c:v>1037.6177017197072</c:v>
                </c:pt>
                <c:pt idx="56">
                  <c:v>1006.6088587337268</c:v>
                </c:pt>
                <c:pt idx="57">
                  <c:v>976.32467527408903</c:v>
                </c:pt>
                <c:pt idx="58">
                  <c:v>946.76985741225053</c:v>
                </c:pt>
                <c:pt idx="59">
                  <c:v>917.95051042984016</c:v>
                </c:pt>
                <c:pt idx="60">
                  <c:v>889.86588246456313</c:v>
                </c:pt>
                <c:pt idx="61">
                  <c:v>862.50767446145153</c:v>
                </c:pt>
                <c:pt idx="62">
                  <c:v>835.84193592179497</c:v>
                </c:pt>
                <c:pt idx="63">
                  <c:v>809.83784041511808</c:v>
                </c:pt>
                <c:pt idx="64">
                  <c:v>784.51653116604859</c:v>
                </c:pt>
                <c:pt idx="65">
                  <c:v>759.88409997846429</c:v>
                </c:pt>
                <c:pt idx="66">
                  <c:v>735.9364708286198</c:v>
                </c:pt>
                <c:pt idx="67">
                  <c:v>712.67298520128179</c:v>
                </c:pt>
                <c:pt idx="68">
                  <c:v>690.0921845958286</c:v>
                </c:pt>
                <c:pt idx="69">
                  <c:v>668.18403695456004</c:v>
                </c:pt>
                <c:pt idx="70">
                  <c:v>646.94205452936899</c:v>
                </c:pt>
                <c:pt idx="71">
                  <c:v>626.50360954688006</c:v>
                </c:pt>
                <c:pt idx="72">
                  <c:v>606.963843417416</c:v>
                </c:pt>
                <c:pt idx="73">
                  <c:v>588.37251375162714</c:v>
                </c:pt>
                <c:pt idx="74">
                  <c:v>570.75275840563597</c:v>
                </c:pt>
                <c:pt idx="75">
                  <c:v>554.11204090762146</c:v>
                </c:pt>
                <c:pt idx="76">
                  <c:v>538.44938360390165</c:v>
                </c:pt>
                <c:pt idx="77">
                  <c:v>523.75963875613468</c:v>
                </c:pt>
                <c:pt idx="78">
                  <c:v>510.0376768325566</c:v>
                </c:pt>
                <c:pt idx="79">
                  <c:v>497.27469478205722</c:v>
                </c:pt>
                <c:pt idx="80">
                  <c:v>485.45170932242701</c:v>
                </c:pt>
                <c:pt idx="81">
                  <c:v>474.53729770714892</c:v>
                </c:pt>
                <c:pt idx="82">
                  <c:v>464.4895905853104</c:v>
                </c:pt>
                <c:pt idx="83">
                  <c:v>455.26026642934551</c:v>
                </c:pt>
                <c:pt idx="84">
                  <c:v>446.79299523207828</c:v>
                </c:pt>
                <c:pt idx="85">
                  <c:v>439.02652931412734</c:v>
                </c:pt>
                <c:pt idx="86">
                  <c:v>431.89723333392624</c:v>
                </c:pt>
                <c:pt idx="87">
                  <c:v>425.34147494756002</c:v>
                </c:pt>
                <c:pt idx="88">
                  <c:v>419.29736584372034</c:v>
                </c:pt>
                <c:pt idx="89">
                  <c:v>413.705927267638</c:v>
                </c:pt>
                <c:pt idx="90">
                  <c:v>408.51122498378959</c:v>
                </c:pt>
                <c:pt idx="91">
                  <c:v>403.66044040023803</c:v>
                </c:pt>
                <c:pt idx="92">
                  <c:v>399.10374456961085</c:v>
                </c:pt>
                <c:pt idx="93">
                  <c:v>394.79574411602789</c:v>
                </c:pt>
                <c:pt idx="94">
                  <c:v>390.69611838461094</c:v>
                </c:pt>
                <c:pt idx="95">
                  <c:v>386.76960820186082</c:v>
                </c:pt>
                <c:pt idx="96">
                  <c:v>382.98560049020358</c:v>
                </c:pt>
                <c:pt idx="97">
                  <c:v>379.31740032215316</c:v>
                </c:pt>
                <c:pt idx="98">
                  <c:v>375.74490679304517</c:v>
                </c:pt>
                <c:pt idx="99">
                  <c:v>372.25311947728653</c:v>
                </c:pt>
                <c:pt idx="100">
                  <c:v>368.83069617059397</c:v>
                </c:pt>
                <c:pt idx="101">
                  <c:v>365.46897282127799</c:v>
                </c:pt>
                <c:pt idx="102">
                  <c:v>362.16117700837134</c:v>
                </c:pt>
                <c:pt idx="103">
                  <c:v>358.90206184402848</c:v>
                </c:pt>
                <c:pt idx="104">
                  <c:v>355.68752038353836</c:v>
                </c:pt>
                <c:pt idx="105">
                  <c:v>352.51422165559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E2-42EA-A44F-23A358B5B2EF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478.0752157777988</c:v>
                </c:pt>
                <c:pt idx="11">
                  <c:v>1512.11327232242</c:v>
                </c:pt>
                <c:pt idx="12">
                  <c:v>1546.3519777846993</c:v>
                </c:pt>
                <c:pt idx="13">
                  <c:v>1581.2722887581087</c:v>
                </c:pt>
                <c:pt idx="14">
                  <c:v>1616.2061337198156</c:v>
                </c:pt>
                <c:pt idx="15">
                  <c:v>1649.7671654525291</c:v>
                </c:pt>
                <c:pt idx="16">
                  <c:v>1681.684707040753</c:v>
                </c:pt>
                <c:pt idx="17">
                  <c:v>1710.6919066919731</c:v>
                </c:pt>
                <c:pt idx="18">
                  <c:v>1735.5052644467605</c:v>
                </c:pt>
                <c:pt idx="19">
                  <c:v>1756.1769704648432</c:v>
                </c:pt>
                <c:pt idx="20">
                  <c:v>1772.9074051883099</c:v>
                </c:pt>
                <c:pt idx="21">
                  <c:v>1785.1338259964887</c:v>
                </c:pt>
                <c:pt idx="22">
                  <c:v>1792.5674019680182</c:v>
                </c:pt>
                <c:pt idx="23">
                  <c:v>1795.4271464595513</c:v>
                </c:pt>
                <c:pt idx="24">
                  <c:v>1794.1019911621679</c:v>
                </c:pt>
                <c:pt idx="25">
                  <c:v>1788.9896742161193</c:v>
                </c:pt>
                <c:pt idx="26">
                  <c:v>1780.2436913234878</c:v>
                </c:pt>
                <c:pt idx="27">
                  <c:v>1767.9091969546782</c:v>
                </c:pt>
                <c:pt idx="28">
                  <c:v>1751.9273763936494</c:v>
                </c:pt>
                <c:pt idx="29">
                  <c:v>1732.5919987753439</c:v>
                </c:pt>
                <c:pt idx="30">
                  <c:v>1710.3047044415353</c:v>
                </c:pt>
                <c:pt idx="31">
                  <c:v>1685.3756493658684</c:v>
                </c:pt>
                <c:pt idx="32">
                  <c:v>1657.9900689625747</c:v>
                </c:pt>
                <c:pt idx="33">
                  <c:v>1628.3653786988848</c:v>
                </c:pt>
                <c:pt idx="34">
                  <c:v>1596.7948534172483</c:v>
                </c:pt>
                <c:pt idx="35">
                  <c:v>1563.4673563004385</c:v>
                </c:pt>
                <c:pt idx="36">
                  <c:v>1528.6568287817465</c:v>
                </c:pt>
                <c:pt idx="37">
                  <c:v>1492.5761447010832</c:v>
                </c:pt>
                <c:pt idx="38">
                  <c:v>1455.3932955465607</c:v>
                </c:pt>
                <c:pt idx="39">
                  <c:v>1417.3299050521782</c:v>
                </c:pt>
                <c:pt idx="40">
                  <c:v>1378.6046266576691</c:v>
                </c:pt>
                <c:pt idx="41">
                  <c:v>1339.3868690252016</c:v>
                </c:pt>
                <c:pt idx="42">
                  <c:v>1299.8376260196276</c:v>
                </c:pt>
                <c:pt idx="43">
                  <c:v>1260.1451638731148</c:v>
                </c:pt>
                <c:pt idx="44">
                  <c:v>1220.4524484506944</c:v>
                </c:pt>
                <c:pt idx="45">
                  <c:v>1180.8919829242395</c:v>
                </c:pt>
                <c:pt idx="46">
                  <c:v>1141.6066439695835</c:v>
                </c:pt>
                <c:pt idx="47">
                  <c:v>1102.6962914501298</c:v>
                </c:pt>
                <c:pt idx="48">
                  <c:v>1064.540230042307</c:v>
                </c:pt>
                <c:pt idx="49">
                  <c:v>1027.2197984230977</c:v>
                </c:pt>
                <c:pt idx="50">
                  <c:v>990.78312869735782</c:v>
                </c:pt>
                <c:pt idx="51">
                  <c:v>955.27425443497782</c:v>
                </c:pt>
                <c:pt idx="52">
                  <c:v>920.72610336984371</c:v>
                </c:pt>
                <c:pt idx="53">
                  <c:v>887.16198831195379</c:v>
                </c:pt>
                <c:pt idx="54">
                  <c:v>854.59128743821248</c:v>
                </c:pt>
                <c:pt idx="55">
                  <c:v>823.00769438646466</c:v>
                </c:pt>
                <c:pt idx="56">
                  <c:v>792.39282354391003</c:v>
                </c:pt>
                <c:pt idx="57">
                  <c:v>762.71690991701598</c:v>
                </c:pt>
                <c:pt idx="58">
                  <c:v>733.94816741030718</c:v>
                </c:pt>
                <c:pt idx="59">
                  <c:v>706.05762359952769</c:v>
                </c:pt>
                <c:pt idx="60">
                  <c:v>679.02342994180424</c:v>
                </c:pt>
                <c:pt idx="61">
                  <c:v>652.82966602561021</c:v>
                </c:pt>
                <c:pt idx="62">
                  <c:v>627.44321091263589</c:v>
                </c:pt>
                <c:pt idx="63">
                  <c:v>602.83604269395323</c:v>
                </c:pt>
                <c:pt idx="64">
                  <c:v>579.01766667159382</c:v>
                </c:pt>
                <c:pt idx="65">
                  <c:v>555.97847241499073</c:v>
                </c:pt>
                <c:pt idx="66">
                  <c:v>533.70269111167704</c:v>
                </c:pt>
                <c:pt idx="67">
                  <c:v>512.18374208456214</c:v>
                </c:pt>
                <c:pt idx="68">
                  <c:v>491.4209158704648</c:v>
                </c:pt>
                <c:pt idx="69">
                  <c:v>471.40819607860317</c:v>
                </c:pt>
                <c:pt idx="70">
                  <c:v>452.14160088780795</c:v>
                </c:pt>
                <c:pt idx="71">
                  <c:v>433.70473884528496</c:v>
                </c:pt>
                <c:pt idx="72">
                  <c:v>416.14678664354233</c:v>
                </c:pt>
                <c:pt idx="73">
                  <c:v>399.48672249043443</c:v>
                </c:pt>
                <c:pt idx="74">
                  <c:v>383.72648541342494</c:v>
                </c:pt>
                <c:pt idx="75">
                  <c:v>368.85811465518856</c:v>
                </c:pt>
                <c:pt idx="76">
                  <c:v>354.86814706363771</c:v>
                </c:pt>
                <c:pt idx="77">
                  <c:v>341.73922713609971</c:v>
                </c:pt>
                <c:pt idx="78">
                  <c:v>329.44976215417046</c:v>
                </c:pt>
                <c:pt idx="79">
                  <c:v>317.97194802757491</c:v>
                </c:pt>
                <c:pt idx="80">
                  <c:v>307.27243306048831</c:v>
                </c:pt>
                <c:pt idx="81">
                  <c:v>297.3123009611279</c:v>
                </c:pt>
                <c:pt idx="82">
                  <c:v>288.04766312352467</c:v>
                </c:pt>
                <c:pt idx="83">
                  <c:v>279.4142222829517</c:v>
                </c:pt>
                <c:pt idx="84">
                  <c:v>271.33551413560303</c:v>
                </c:pt>
                <c:pt idx="85">
                  <c:v>263.73113925821934</c:v>
                </c:pt>
                <c:pt idx="86">
                  <c:v>256.5207632950009</c:v>
                </c:pt>
                <c:pt idx="87">
                  <c:v>249.63356061115601</c:v>
                </c:pt>
                <c:pt idx="88">
                  <c:v>243.00739750769017</c:v>
                </c:pt>
                <c:pt idx="89">
                  <c:v>236.58733761046125</c:v>
                </c:pt>
                <c:pt idx="90">
                  <c:v>230.32432760546732</c:v>
                </c:pt>
                <c:pt idx="91">
                  <c:v>224.17466305741019</c:v>
                </c:pt>
                <c:pt idx="92">
                  <c:v>218.11159253023135</c:v>
                </c:pt>
                <c:pt idx="93">
                  <c:v>212.12158886329522</c:v>
                </c:pt>
                <c:pt idx="94">
                  <c:v>206.20044517612911</c:v>
                </c:pt>
                <c:pt idx="95">
                  <c:v>200.35015441952925</c:v>
                </c:pt>
                <c:pt idx="96">
                  <c:v>194.57653538085091</c:v>
                </c:pt>
                <c:pt idx="97">
                  <c:v>188.88740181855255</c:v>
                </c:pt>
                <c:pt idx="98">
                  <c:v>183.29151829040688</c:v>
                </c:pt>
                <c:pt idx="99">
                  <c:v>177.79843915147893</c:v>
                </c:pt>
                <c:pt idx="100">
                  <c:v>172.41920745110161</c:v>
                </c:pt>
                <c:pt idx="101">
                  <c:v>167.16508936597862</c:v>
                </c:pt>
                <c:pt idx="102">
                  <c:v>162.04641079918312</c:v>
                </c:pt>
                <c:pt idx="103">
                  <c:v>157.07188658479021</c:v>
                </c:pt>
                <c:pt idx="104">
                  <c:v>152.24846550663432</c:v>
                </c:pt>
                <c:pt idx="105">
                  <c:v>147.58144717230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E2-42EA-A44F-23A358B5B2EF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489.0133582381427</c:v>
                </c:pt>
                <c:pt idx="11">
                  <c:v>1536.6585710758609</c:v>
                </c:pt>
                <c:pt idx="12">
                  <c:v>1585.5007310874776</c:v>
                </c:pt>
                <c:pt idx="13">
                  <c:v>1635.7681414344906</c:v>
                </c:pt>
                <c:pt idx="14">
                  <c:v>1686.6459413709727</c:v>
                </c:pt>
                <c:pt idx="15">
                  <c:v>1736.6972062994382</c:v>
                </c:pt>
                <c:pt idx="16">
                  <c:v>1785.5668310482292</c:v>
                </c:pt>
                <c:pt idx="17">
                  <c:v>1831.7803073311661</c:v>
                </c:pt>
                <c:pt idx="18">
                  <c:v>1873.7327383444128</c:v>
                </c:pt>
                <c:pt idx="19">
                  <c:v>1911.3017099485949</c:v>
                </c:pt>
                <c:pt idx="20">
                  <c:v>1944.3998321745607</c:v>
                </c:pt>
                <c:pt idx="21">
                  <c:v>1972.1209077789231</c:v>
                </c:pt>
                <c:pt idx="22">
                  <c:v>1994.0819013153232</c:v>
                </c:pt>
                <c:pt idx="23">
                  <c:v>2010.5444498965285</c:v>
                </c:pt>
                <c:pt idx="24">
                  <c:v>2021.9285856149725</c:v>
                </c:pt>
                <c:pt idx="25">
                  <c:v>2028.6357887529773</c:v>
                </c:pt>
                <c:pt idx="26">
                  <c:v>2030.8819785750802</c:v>
                </c:pt>
                <c:pt idx="27">
                  <c:v>2028.7826740386824</c:v>
                </c:pt>
                <c:pt idx="28">
                  <c:v>2022.3257505588208</c:v>
                </c:pt>
                <c:pt idx="29">
                  <c:v>2011.8501062717439</c:v>
                </c:pt>
                <c:pt idx="30">
                  <c:v>1997.7838124829086</c:v>
                </c:pt>
                <c:pt idx="31">
                  <c:v>1980.4702853067292</c:v>
                </c:pt>
                <c:pt idx="32">
                  <c:v>1960.1674757716457</c:v>
                </c:pt>
                <c:pt idx="33">
                  <c:v>1937.2111266774778</c:v>
                </c:pt>
                <c:pt idx="34">
                  <c:v>1911.9733800059585</c:v>
                </c:pt>
                <c:pt idx="35">
                  <c:v>1884.6620217178938</c:v>
                </c:pt>
                <c:pt idx="36">
                  <c:v>1855.5572428842452</c:v>
                </c:pt>
                <c:pt idx="37">
                  <c:v>1824.9018650836254</c:v>
                </c:pt>
                <c:pt idx="38">
                  <c:v>1792.882626471993</c:v>
                </c:pt>
                <c:pt idx="39">
                  <c:v>1759.7429516427958</c:v>
                </c:pt>
                <c:pt idx="40">
                  <c:v>1725.7172894635737</c:v>
                </c:pt>
                <c:pt idx="41">
                  <c:v>1690.9588133222865</c:v>
                </c:pt>
                <c:pt idx="42">
                  <c:v>1655.6076905676955</c:v>
                </c:pt>
                <c:pt idx="43">
                  <c:v>1619.8279713073875</c:v>
                </c:pt>
                <c:pt idx="44">
                  <c:v>1583.7418073526183</c:v>
                </c:pt>
                <c:pt idx="45">
                  <c:v>1547.4637668883981</c:v>
                </c:pt>
                <c:pt idx="46">
                  <c:v>1511.1247525038402</c:v>
                </c:pt>
                <c:pt idx="47">
                  <c:v>1474.8108836935994</c:v>
                </c:pt>
                <c:pt idx="48">
                  <c:v>1438.978144907865</c:v>
                </c:pt>
                <c:pt idx="49">
                  <c:v>1403.6856794304822</c:v>
                </c:pt>
                <c:pt idx="50">
                  <c:v>1368.9641255580555</c:v>
                </c:pt>
                <c:pt idx="51">
                  <c:v>1334.852478302394</c:v>
                </c:pt>
                <c:pt idx="52">
                  <c:v>1301.3848468994026</c:v>
                </c:pt>
                <c:pt idx="53">
                  <c:v>1268.5899520742094</c:v>
                </c:pt>
                <c:pt idx="54">
                  <c:v>1236.4961425531139</c:v>
                </c:pt>
                <c:pt idx="55">
                  <c:v>1205.1223348463179</c:v>
                </c:pt>
                <c:pt idx="56">
                  <c:v>1174.4781906348851</c:v>
                </c:pt>
                <c:pt idx="57">
                  <c:v>1144.5636430592238</c:v>
                </c:pt>
                <c:pt idx="58">
                  <c:v>1115.3760255407503</c:v>
                </c:pt>
                <c:pt idx="59">
                  <c:v>1086.9137153317949</c:v>
                </c:pt>
                <c:pt idx="60">
                  <c:v>1059.1795853458041</c:v>
                </c:pt>
                <c:pt idx="61">
                  <c:v>1032.1797728807048</c:v>
                </c:pt>
                <c:pt idx="62">
                  <c:v>1005.9014830149531</c:v>
                </c:pt>
                <c:pt idx="63">
                  <c:v>980.33444333597527</c:v>
                </c:pt>
                <c:pt idx="64">
                  <c:v>955.47794715360544</c:v>
                </c:pt>
                <c:pt idx="65">
                  <c:v>931.31629456528026</c:v>
                </c:pt>
                <c:pt idx="66">
                  <c:v>907.83031536295243</c:v>
                </c:pt>
                <c:pt idx="67">
                  <c:v>885.01042587297877</c:v>
                </c:pt>
                <c:pt idx="68">
                  <c:v>862.84830857946042</c:v>
                </c:pt>
                <c:pt idx="69">
                  <c:v>841.32769772791039</c:v>
                </c:pt>
                <c:pt idx="70">
                  <c:v>820.43388213007427</c:v>
                </c:pt>
                <c:pt idx="71">
                  <c:v>800.15362797435125</c:v>
                </c:pt>
                <c:pt idx="72">
                  <c:v>780.47204692781702</c:v>
                </c:pt>
                <c:pt idx="73">
                  <c:v>761.3739126944937</c:v>
                </c:pt>
                <c:pt idx="74">
                  <c:v>742.84395975791608</c:v>
                </c:pt>
                <c:pt idx="75">
                  <c:v>724.8669258459546</c:v>
                </c:pt>
                <c:pt idx="76">
                  <c:v>707.42747314644134</c:v>
                </c:pt>
                <c:pt idx="77">
                  <c:v>690.51030326744535</c:v>
                </c:pt>
                <c:pt idx="78">
                  <c:v>674.1002036100906</c:v>
                </c:pt>
                <c:pt idx="79">
                  <c:v>658.18201618577052</c:v>
                </c:pt>
                <c:pt idx="80">
                  <c:v>642.74073241279882</c:v>
                </c:pt>
                <c:pt idx="81">
                  <c:v>627.7615427830001</c:v>
                </c:pt>
                <c:pt idx="82">
                  <c:v>613.22984192190586</c:v>
                </c:pt>
                <c:pt idx="83">
                  <c:v>599.13126088307354</c:v>
                </c:pt>
                <c:pt idx="84">
                  <c:v>585.45170081012486</c:v>
                </c:pt>
                <c:pt idx="85">
                  <c:v>572.17733825163918</c:v>
                </c:pt>
                <c:pt idx="86">
                  <c:v>559.2946185141767</c:v>
                </c:pt>
                <c:pt idx="87">
                  <c:v>546.79028237164289</c:v>
                </c:pt>
                <c:pt idx="88">
                  <c:v>534.65138618450135</c:v>
                </c:pt>
                <c:pt idx="89">
                  <c:v>522.86531136030715</c:v>
                </c:pt>
                <c:pt idx="90">
                  <c:v>511.41976355112138</c:v>
                </c:pt>
                <c:pt idx="91">
                  <c:v>500.3027691616474</c:v>
                </c:pt>
                <c:pt idx="92">
                  <c:v>489.50268449461419</c:v>
                </c:pt>
                <c:pt idx="93">
                  <c:v>479.00819446693669</c:v>
                </c:pt>
                <c:pt idx="94">
                  <c:v>468.80830776803589</c:v>
                </c:pt>
                <c:pt idx="95">
                  <c:v>458.89235747870634</c:v>
                </c:pt>
                <c:pt idx="96">
                  <c:v>449.25000202330295</c:v>
                </c:pt>
                <c:pt idx="97">
                  <c:v>439.87122399093863</c:v>
                </c:pt>
                <c:pt idx="98">
                  <c:v>430.7463241138131</c:v>
                </c:pt>
                <c:pt idx="99">
                  <c:v>421.86591335833612</c:v>
                </c:pt>
                <c:pt idx="100">
                  <c:v>413.22090957970408</c:v>
                </c:pt>
                <c:pt idx="101">
                  <c:v>404.80253383784827</c:v>
                </c:pt>
                <c:pt idx="102">
                  <c:v>396.60230392755659</c:v>
                </c:pt>
                <c:pt idx="103">
                  <c:v>388.61202849471664</c:v>
                </c:pt>
                <c:pt idx="104">
                  <c:v>380.82380090155664</c:v>
                </c:pt>
                <c:pt idx="105">
                  <c:v>373.2299928561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AE2-42EA-A44F-23A358B5B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713</c:v>
                </c:pt>
                <c:pt idx="1">
                  <c:v>754</c:v>
                </c:pt>
                <c:pt idx="2">
                  <c:v>798</c:v>
                </c:pt>
                <c:pt idx="3">
                  <c:v>726</c:v>
                </c:pt>
                <c:pt idx="4">
                  <c:v>774</c:v>
                </c:pt>
                <c:pt idx="5">
                  <c:v>558</c:v>
                </c:pt>
                <c:pt idx="6">
                  <c:v>591</c:v>
                </c:pt>
                <c:pt idx="7">
                  <c:v>919</c:v>
                </c:pt>
                <c:pt idx="8">
                  <c:v>841</c:v>
                </c:pt>
                <c:pt idx="9">
                  <c:v>837</c:v>
                </c:pt>
                <c:pt idx="10">
                  <c:v>913</c:v>
                </c:pt>
                <c:pt idx="11">
                  <c:v>890</c:v>
                </c:pt>
                <c:pt idx="12">
                  <c:v>711</c:v>
                </c:pt>
                <c:pt idx="13">
                  <c:v>646</c:v>
                </c:pt>
                <c:pt idx="14">
                  <c:v>1144</c:v>
                </c:pt>
                <c:pt idx="15">
                  <c:v>1040</c:v>
                </c:pt>
                <c:pt idx="16">
                  <c:v>859</c:v>
                </c:pt>
                <c:pt idx="17">
                  <c:v>912</c:v>
                </c:pt>
                <c:pt idx="18">
                  <c:v>901</c:v>
                </c:pt>
                <c:pt idx="19">
                  <c:v>743</c:v>
                </c:pt>
                <c:pt idx="20">
                  <c:v>713</c:v>
                </c:pt>
                <c:pt idx="21">
                  <c:v>1036</c:v>
                </c:pt>
                <c:pt idx="22">
                  <c:v>977</c:v>
                </c:pt>
                <c:pt idx="23">
                  <c:v>1026</c:v>
                </c:pt>
                <c:pt idx="24">
                  <c:v>928</c:v>
                </c:pt>
                <c:pt idx="25">
                  <c:v>969</c:v>
                </c:pt>
                <c:pt idx="26">
                  <c:v>746</c:v>
                </c:pt>
                <c:pt idx="27">
                  <c:v>652</c:v>
                </c:pt>
                <c:pt idx="28">
                  <c:v>1027</c:v>
                </c:pt>
                <c:pt idx="29">
                  <c:v>920</c:v>
                </c:pt>
                <c:pt idx="30">
                  <c:v>871</c:v>
                </c:pt>
                <c:pt idx="31">
                  <c:v>811</c:v>
                </c:pt>
                <c:pt idx="32">
                  <c:v>809</c:v>
                </c:pt>
                <c:pt idx="33">
                  <c:v>558</c:v>
                </c:pt>
                <c:pt idx="34">
                  <c:v>564</c:v>
                </c:pt>
                <c:pt idx="35">
                  <c:v>930</c:v>
                </c:pt>
                <c:pt idx="36">
                  <c:v>764</c:v>
                </c:pt>
                <c:pt idx="37">
                  <c:v>744</c:v>
                </c:pt>
                <c:pt idx="38">
                  <c:v>729</c:v>
                </c:pt>
                <c:pt idx="39">
                  <c:v>709</c:v>
                </c:pt>
                <c:pt idx="40">
                  <c:v>562</c:v>
                </c:pt>
                <c:pt idx="41">
                  <c:v>495</c:v>
                </c:pt>
                <c:pt idx="42">
                  <c:v>789</c:v>
                </c:pt>
                <c:pt idx="43">
                  <c:v>656</c:v>
                </c:pt>
                <c:pt idx="44">
                  <c:v>655</c:v>
                </c:pt>
                <c:pt idx="45">
                  <c:v>620</c:v>
                </c:pt>
                <c:pt idx="46">
                  <c:v>507</c:v>
                </c:pt>
                <c:pt idx="47">
                  <c:v>475</c:v>
                </c:pt>
                <c:pt idx="48">
                  <c:v>445</c:v>
                </c:pt>
                <c:pt idx="49">
                  <c:v>368</c:v>
                </c:pt>
                <c:pt idx="50">
                  <c:v>638</c:v>
                </c:pt>
                <c:pt idx="51">
                  <c:v>518</c:v>
                </c:pt>
                <c:pt idx="52">
                  <c:v>433</c:v>
                </c:pt>
                <c:pt idx="53">
                  <c:v>479</c:v>
                </c:pt>
                <c:pt idx="54">
                  <c:v>304</c:v>
                </c:pt>
                <c:pt idx="55">
                  <c:v>282</c:v>
                </c:pt>
                <c:pt idx="56">
                  <c:v>416</c:v>
                </c:pt>
                <c:pt idx="57">
                  <c:v>374</c:v>
                </c:pt>
                <c:pt idx="58">
                  <c:v>387</c:v>
                </c:pt>
                <c:pt idx="59">
                  <c:v>352</c:v>
                </c:pt>
                <c:pt idx="60">
                  <c:v>341</c:v>
                </c:pt>
                <c:pt idx="61">
                  <c:v>263</c:v>
                </c:pt>
                <c:pt idx="62">
                  <c:v>232</c:v>
                </c:pt>
                <c:pt idx="63">
                  <c:v>353</c:v>
                </c:pt>
                <c:pt idx="64">
                  <c:v>328</c:v>
                </c:pt>
                <c:pt idx="65">
                  <c:v>335</c:v>
                </c:pt>
                <c:pt idx="66">
                  <c:v>262</c:v>
                </c:pt>
                <c:pt idx="67">
                  <c:v>254</c:v>
                </c:pt>
                <c:pt idx="68">
                  <c:v>165</c:v>
                </c:pt>
                <c:pt idx="69">
                  <c:v>168</c:v>
                </c:pt>
                <c:pt idx="70">
                  <c:v>261</c:v>
                </c:pt>
                <c:pt idx="71">
                  <c:v>250</c:v>
                </c:pt>
                <c:pt idx="72">
                  <c:v>228</c:v>
                </c:pt>
                <c:pt idx="73">
                  <c:v>235</c:v>
                </c:pt>
                <c:pt idx="74">
                  <c:v>175</c:v>
                </c:pt>
                <c:pt idx="75">
                  <c:v>132</c:v>
                </c:pt>
                <c:pt idx="76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921.27255682805844</c:v>
                </c:pt>
                <c:pt idx="11">
                  <c:v>950.04655632321374</c:v>
                </c:pt>
                <c:pt idx="12">
                  <c:v>975.06632719252957</c:v>
                </c:pt>
                <c:pt idx="13">
                  <c:v>1001.1407906556851</c:v>
                </c:pt>
                <c:pt idx="14">
                  <c:v>1026.7764563831006</c:v>
                </c:pt>
                <c:pt idx="15">
                  <c:v>1046.0537452376011</c:v>
                </c:pt>
                <c:pt idx="16">
                  <c:v>1060.0018308652943</c:v>
                </c:pt>
                <c:pt idx="17">
                  <c:v>1070.0822871986165</c:v>
                </c:pt>
                <c:pt idx="18">
                  <c:v>1075.5222993314528</c:v>
                </c:pt>
                <c:pt idx="19">
                  <c:v>1076.4434697168908</c:v>
                </c:pt>
                <c:pt idx="20">
                  <c:v>1074.9945532529964</c:v>
                </c:pt>
                <c:pt idx="21">
                  <c:v>1071.730420053631</c:v>
                </c:pt>
                <c:pt idx="22">
                  <c:v>1066.0906548018829</c:v>
                </c:pt>
                <c:pt idx="23">
                  <c:v>1058.4327563004044</c:v>
                </c:pt>
                <c:pt idx="24">
                  <c:v>1049.1434149219567</c:v>
                </c:pt>
                <c:pt idx="25">
                  <c:v>1038.1803048758593</c:v>
                </c:pt>
                <c:pt idx="26">
                  <c:v>1025.8802472121024</c:v>
                </c:pt>
                <c:pt idx="27">
                  <c:v>1012.8237392495212</c:v>
                </c:pt>
                <c:pt idx="28">
                  <c:v>998.95019865655922</c:v>
                </c:pt>
                <c:pt idx="29">
                  <c:v>984.20796425215667</c:v>
                </c:pt>
                <c:pt idx="30">
                  <c:v>968.94063105189707</c:v>
                </c:pt>
                <c:pt idx="31">
                  <c:v>953.28994503586728</c:v>
                </c:pt>
                <c:pt idx="32">
                  <c:v>937.12371862685541</c:v>
                </c:pt>
                <c:pt idx="33">
                  <c:v>920.48531541733246</c:v>
                </c:pt>
                <c:pt idx="34">
                  <c:v>903.57363142278336</c:v>
                </c:pt>
                <c:pt idx="35">
                  <c:v>886.52328910738288</c:v>
                </c:pt>
                <c:pt idx="36">
                  <c:v>869.43813617953856</c:v>
                </c:pt>
                <c:pt idx="37">
                  <c:v>852.29018096333311</c:v>
                </c:pt>
                <c:pt idx="38">
                  <c:v>834.9529185576248</c:v>
                </c:pt>
                <c:pt idx="39">
                  <c:v>817.50050248697517</c:v>
                </c:pt>
                <c:pt idx="40">
                  <c:v>800.03333895816468</c:v>
                </c:pt>
                <c:pt idx="41">
                  <c:v>782.61237937395344</c:v>
                </c:pt>
                <c:pt idx="42">
                  <c:v>765.30262352844875</c:v>
                </c:pt>
                <c:pt idx="43">
                  <c:v>748.1083249377989</c:v>
                </c:pt>
                <c:pt idx="44">
                  <c:v>731.02806413421058</c:v>
                </c:pt>
                <c:pt idx="45">
                  <c:v>714.05721546823042</c:v>
                </c:pt>
                <c:pt idx="46">
                  <c:v>697.18803854894941</c:v>
                </c:pt>
                <c:pt idx="47">
                  <c:v>680.42965736272163</c:v>
                </c:pt>
                <c:pt idx="48">
                  <c:v>663.84713073066087</c:v>
                </c:pt>
                <c:pt idx="49">
                  <c:v>647.49308926131926</c:v>
                </c:pt>
                <c:pt idx="50">
                  <c:v>631.33688608082593</c:v>
                </c:pt>
                <c:pt idx="51">
                  <c:v>615.35322313461802</c:v>
                </c:pt>
                <c:pt idx="52">
                  <c:v>599.5097274153668</c:v>
                </c:pt>
                <c:pt idx="53">
                  <c:v>583.77745633294398</c:v>
                </c:pt>
                <c:pt idx="54">
                  <c:v>568.22486903090612</c:v>
                </c:pt>
                <c:pt idx="55">
                  <c:v>552.90796327732096</c:v>
                </c:pt>
                <c:pt idx="56">
                  <c:v>537.86086035388871</c:v>
                </c:pt>
                <c:pt idx="57">
                  <c:v>523.10349996143486</c:v>
                </c:pt>
                <c:pt idx="58">
                  <c:v>508.6473111610685</c:v>
                </c:pt>
                <c:pt idx="59">
                  <c:v>494.49846949928906</c:v>
                </c:pt>
                <c:pt idx="60">
                  <c:v>480.57936834730208</c:v>
                </c:pt>
                <c:pt idx="61">
                  <c:v>466.8121717251197</c:v>
                </c:pt>
                <c:pt idx="62">
                  <c:v>453.14647159757442</c:v>
                </c:pt>
                <c:pt idx="63">
                  <c:v>439.58132036667666</c:v>
                </c:pt>
                <c:pt idx="64">
                  <c:v>426.41034429363208</c:v>
                </c:pt>
                <c:pt idx="65">
                  <c:v>413.63581237441394</c:v>
                </c:pt>
                <c:pt idx="66">
                  <c:v>401.21997763164109</c:v>
                </c:pt>
                <c:pt idx="67">
                  <c:v>389.1295271286217</c:v>
                </c:pt>
                <c:pt idx="68">
                  <c:v>377.35389991430566</c:v>
                </c:pt>
                <c:pt idx="69">
                  <c:v>365.89369477471337</c:v>
                </c:pt>
                <c:pt idx="70">
                  <c:v>354.76767928234767</c:v>
                </c:pt>
                <c:pt idx="71">
                  <c:v>345.01485770984436</c:v>
                </c:pt>
                <c:pt idx="72">
                  <c:v>336.3770177726401</c:v>
                </c:pt>
                <c:pt idx="73">
                  <c:v>328.56771912978729</c:v>
                </c:pt>
                <c:pt idx="74">
                  <c:v>321.42845670683892</c:v>
                </c:pt>
                <c:pt idx="75">
                  <c:v>314.87405804352602</c:v>
                </c:pt>
                <c:pt idx="76">
                  <c:v>308.86166115864762</c:v>
                </c:pt>
                <c:pt idx="77">
                  <c:v>303.37112527733552</c:v>
                </c:pt>
                <c:pt idx="78">
                  <c:v>298.41228831201443</c:v>
                </c:pt>
                <c:pt idx="79">
                  <c:v>293.96714568024618</c:v>
                </c:pt>
                <c:pt idx="80">
                  <c:v>289.96338165222551</c:v>
                </c:pt>
                <c:pt idx="81">
                  <c:v>286.31296636795742</c:v>
                </c:pt>
                <c:pt idx="82">
                  <c:v>282.94632585218642</c:v>
                </c:pt>
                <c:pt idx="83">
                  <c:v>279.80481217155466</c:v>
                </c:pt>
                <c:pt idx="84">
                  <c:v>276.8039597448078</c:v>
                </c:pt>
                <c:pt idx="85">
                  <c:v>273.87988578734803</c:v>
                </c:pt>
                <c:pt idx="86">
                  <c:v>270.9883103852917</c:v>
                </c:pt>
                <c:pt idx="87">
                  <c:v>268.09773692989256</c:v>
                </c:pt>
                <c:pt idx="88">
                  <c:v>265.18558467156254</c:v>
                </c:pt>
                <c:pt idx="89">
                  <c:v>262.23589740635362</c:v>
                </c:pt>
                <c:pt idx="90">
                  <c:v>259.23700278147589</c:v>
                </c:pt>
                <c:pt idx="91">
                  <c:v>256.18181618637755</c:v>
                </c:pt>
                <c:pt idx="92">
                  <c:v>253.06607577289105</c:v>
                </c:pt>
                <c:pt idx="93">
                  <c:v>249.89479026291519</c:v>
                </c:pt>
                <c:pt idx="94">
                  <c:v>246.67317550157895</c:v>
                </c:pt>
                <c:pt idx="95">
                  <c:v>243.40578245464712</c:v>
                </c:pt>
                <c:pt idx="96">
                  <c:v>240.09673015621956</c:v>
                </c:pt>
                <c:pt idx="97">
                  <c:v>236.74935964209726</c:v>
                </c:pt>
                <c:pt idx="98">
                  <c:v>233.38809097983176</c:v>
                </c:pt>
                <c:pt idx="99">
                  <c:v>230.03116606117692</c:v>
                </c:pt>
                <c:pt idx="100">
                  <c:v>226.68941937322961</c:v>
                </c:pt>
                <c:pt idx="101">
                  <c:v>223.3689852024545</c:v>
                </c:pt>
                <c:pt idx="102">
                  <c:v>220.07255606149556</c:v>
                </c:pt>
                <c:pt idx="103">
                  <c:v>216.80117726014578</c:v>
                </c:pt>
                <c:pt idx="104">
                  <c:v>213.55495083265123</c:v>
                </c:pt>
                <c:pt idx="105">
                  <c:v>210.33335517765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D60-4826-BB40-44692634279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884.38390631374205</c:v>
                </c:pt>
                <c:pt idx="11">
                  <c:v>903.6086874591856</c:v>
                </c:pt>
                <c:pt idx="12">
                  <c:v>924.08261141896946</c:v>
                </c:pt>
                <c:pt idx="13">
                  <c:v>945.89512726065004</c:v>
                </c:pt>
                <c:pt idx="14">
                  <c:v>967.35277248696366</c:v>
                </c:pt>
                <c:pt idx="15">
                  <c:v>982.36031537214876</c:v>
                </c:pt>
                <c:pt idx="16">
                  <c:v>992.01054728229064</c:v>
                </c:pt>
                <c:pt idx="17">
                  <c:v>998.06001514534</c:v>
                </c:pt>
                <c:pt idx="18">
                  <c:v>1000.1909763954754</c:v>
                </c:pt>
                <c:pt idx="19">
                  <c:v>998.20846727043681</c:v>
                </c:pt>
                <c:pt idx="20">
                  <c:v>994.39957840552961</c:v>
                </c:pt>
                <c:pt idx="21">
                  <c:v>989.30084216999239</c:v>
                </c:pt>
                <c:pt idx="22">
                  <c:v>982.20181088507525</c:v>
                </c:pt>
                <c:pt idx="23">
                  <c:v>973.1697459405259</c:v>
                </c:pt>
                <c:pt idx="24">
                  <c:v>962.48167363522225</c:v>
                </c:pt>
                <c:pt idx="25">
                  <c:v>950.03545543961809</c:v>
                </c:pt>
                <c:pt idx="26">
                  <c:v>936.16293754776416</c:v>
                </c:pt>
                <c:pt idx="27">
                  <c:v>921.46707436833822</c:v>
                </c:pt>
                <c:pt idx="28">
                  <c:v>905.98284563023481</c:v>
                </c:pt>
                <c:pt idx="29">
                  <c:v>889.56518772734853</c:v>
                </c:pt>
                <c:pt idx="30">
                  <c:v>872.49347271431179</c:v>
                </c:pt>
                <c:pt idx="31">
                  <c:v>854.83214602930821</c:v>
                </c:pt>
                <c:pt idx="32">
                  <c:v>836.39957257307833</c:v>
                </c:pt>
                <c:pt idx="33">
                  <c:v>817.25631446288025</c:v>
                </c:pt>
                <c:pt idx="34">
                  <c:v>797.71290197565395</c:v>
                </c:pt>
                <c:pt idx="35">
                  <c:v>778.05174916201213</c:v>
                </c:pt>
                <c:pt idx="36">
                  <c:v>758.3997381797526</c:v>
                </c:pt>
                <c:pt idx="37">
                  <c:v>738.69529987391434</c:v>
                </c:pt>
                <c:pt idx="38">
                  <c:v>718.80011407006532</c:v>
                </c:pt>
                <c:pt idx="39">
                  <c:v>698.79185041776509</c:v>
                </c:pt>
                <c:pt idx="40">
                  <c:v>678.82003224144864</c:v>
                </c:pt>
                <c:pt idx="41">
                  <c:v>659.03956928952539</c:v>
                </c:pt>
                <c:pt idx="42">
                  <c:v>639.57849625353992</c:v>
                </c:pt>
                <c:pt idx="43">
                  <c:v>620.45481770299375</c:v>
                </c:pt>
                <c:pt idx="44">
                  <c:v>601.66233328545059</c:v>
                </c:pt>
                <c:pt idx="45">
                  <c:v>583.19925045051787</c:v>
                </c:pt>
                <c:pt idx="46">
                  <c:v>565.07339925922861</c:v>
                </c:pt>
                <c:pt idx="47">
                  <c:v>547.31265593133867</c:v>
                </c:pt>
                <c:pt idx="48">
                  <c:v>529.99596664796991</c:v>
                </c:pt>
                <c:pt idx="49">
                  <c:v>513.18786240006739</c:v>
                </c:pt>
                <c:pt idx="50">
                  <c:v>496.86811381904408</c:v>
                </c:pt>
                <c:pt idx="51">
                  <c:v>480.99391864187783</c:v>
                </c:pt>
                <c:pt idx="52">
                  <c:v>465.53973728281562</c:v>
                </c:pt>
                <c:pt idx="53">
                  <c:v>450.48744319478283</c:v>
                </c:pt>
                <c:pt idx="54">
                  <c:v>435.76921703055268</c:v>
                </c:pt>
                <c:pt idx="55">
                  <c:v>421.33992903726175</c:v>
                </c:pt>
                <c:pt idx="56">
                  <c:v>407.17595683965192</c:v>
                </c:pt>
                <c:pt idx="57">
                  <c:v>393.26620616402943</c:v>
                </c:pt>
                <c:pt idx="58">
                  <c:v>379.60724750248482</c:v>
                </c:pt>
                <c:pt idx="59">
                  <c:v>366.19979807554046</c:v>
                </c:pt>
                <c:pt idx="60">
                  <c:v>353.04659596872807</c:v>
                </c:pt>
                <c:pt idx="61">
                  <c:v>340.15221975115128</c:v>
                </c:pt>
                <c:pt idx="62">
                  <c:v>327.52303667229717</c:v>
                </c:pt>
                <c:pt idx="63">
                  <c:v>315.17333894029434</c:v>
                </c:pt>
                <c:pt idx="64">
                  <c:v>303.28891621840012</c:v>
                </c:pt>
                <c:pt idx="65">
                  <c:v>291.82357002896606</c:v>
                </c:pt>
                <c:pt idx="66">
                  <c:v>280.75187396838737</c:v>
                </c:pt>
                <c:pt idx="67">
                  <c:v>270.07205859771057</c:v>
                </c:pt>
                <c:pt idx="68">
                  <c:v>259.80818395588722</c:v>
                </c:pt>
                <c:pt idx="69">
                  <c:v>249.97861379479582</c:v>
                </c:pt>
                <c:pt idx="70">
                  <c:v>240.58930518641137</c:v>
                </c:pt>
                <c:pt idx="71">
                  <c:v>232.27247631837963</c:v>
                </c:pt>
                <c:pt idx="72">
                  <c:v>224.80722686517402</c:v>
                </c:pt>
                <c:pt idx="73">
                  <c:v>218.00046335271327</c:v>
                </c:pt>
                <c:pt idx="74">
                  <c:v>211.74739770250744</c:v>
                </c:pt>
                <c:pt idx="75">
                  <c:v>205.98898279498098</c:v>
                </c:pt>
                <c:pt idx="76">
                  <c:v>200.69039088851423</c:v>
                </c:pt>
                <c:pt idx="77">
                  <c:v>195.82257913635112</c:v>
                </c:pt>
                <c:pt idx="78">
                  <c:v>191.35324913766817</c:v>
                </c:pt>
                <c:pt idx="79">
                  <c:v>187.23400675834273</c:v>
                </c:pt>
                <c:pt idx="80">
                  <c:v>183.41614469568594</c:v>
                </c:pt>
                <c:pt idx="81">
                  <c:v>179.85111366401543</c:v>
                </c:pt>
                <c:pt idx="82">
                  <c:v>176.4964577065839</c:v>
                </c:pt>
                <c:pt idx="83">
                  <c:v>173.18562888837187</c:v>
                </c:pt>
                <c:pt idx="84">
                  <c:v>169.7997917412431</c:v>
                </c:pt>
                <c:pt idx="85">
                  <c:v>166.2761418313894</c:v>
                </c:pt>
                <c:pt idx="86">
                  <c:v>162.57948949126876</c:v>
                </c:pt>
                <c:pt idx="87">
                  <c:v>158.74023052831762</c:v>
                </c:pt>
                <c:pt idx="88">
                  <c:v>154.78277744015213</c:v>
                </c:pt>
                <c:pt idx="89">
                  <c:v>150.72075966437114</c:v>
                </c:pt>
                <c:pt idx="90">
                  <c:v>146.56166901675169</c:v>
                </c:pt>
                <c:pt idx="91">
                  <c:v>142.31300130949239</c:v>
                </c:pt>
                <c:pt idx="92">
                  <c:v>138.06829791341443</c:v>
                </c:pt>
                <c:pt idx="93">
                  <c:v>133.89507531910203</c:v>
                </c:pt>
                <c:pt idx="94">
                  <c:v>129.83145349408733</c:v>
                </c:pt>
                <c:pt idx="95">
                  <c:v>125.89689390052808</c:v>
                </c:pt>
                <c:pt idx="96">
                  <c:v>122.09933312403155</c:v>
                </c:pt>
                <c:pt idx="97">
                  <c:v>118.43929914027103</c:v>
                </c:pt>
                <c:pt idx="98">
                  <c:v>114.91401047346881</c:v>
                </c:pt>
                <c:pt idx="99">
                  <c:v>111.52403952769237</c:v>
                </c:pt>
                <c:pt idx="100">
                  <c:v>108.27734827657696</c:v>
                </c:pt>
                <c:pt idx="101">
                  <c:v>105.17553286097245</c:v>
                </c:pt>
                <c:pt idx="102">
                  <c:v>102.21505951925064</c:v>
                </c:pt>
                <c:pt idx="103">
                  <c:v>99.389812466863077</c:v>
                </c:pt>
                <c:pt idx="104">
                  <c:v>96.692725172499195</c:v>
                </c:pt>
                <c:pt idx="105">
                  <c:v>94.116862423426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D60-4826-BB40-44692634279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939.68990866873355</c:v>
                </c:pt>
                <c:pt idx="11">
                  <c:v>974.94485143883503</c:v>
                </c:pt>
                <c:pt idx="12">
                  <c:v>1004.2910924640455</c:v>
                </c:pt>
                <c:pt idx="13">
                  <c:v>1034.6599045577896</c:v>
                </c:pt>
                <c:pt idx="14">
                  <c:v>1064.6510091166128</c:v>
                </c:pt>
                <c:pt idx="15">
                  <c:v>1088.4430152635177</c:v>
                </c:pt>
                <c:pt idx="16">
                  <c:v>1107.0225666343176</c:v>
                </c:pt>
                <c:pt idx="17">
                  <c:v>1121.6862178713054</c:v>
                </c:pt>
                <c:pt idx="18">
                  <c:v>1131.3569439937419</c:v>
                </c:pt>
                <c:pt idx="19">
                  <c:v>1136.25746795538</c:v>
                </c:pt>
                <c:pt idx="20">
                  <c:v>1138.43396380372</c:v>
                </c:pt>
                <c:pt idx="21">
                  <c:v>1138.4324741638702</c:v>
                </c:pt>
                <c:pt idx="22">
                  <c:v>1135.725348398395</c:v>
                </c:pt>
                <c:pt idx="23">
                  <c:v>1130.7752992526948</c:v>
                </c:pt>
                <c:pt idx="24">
                  <c:v>1123.9901338405325</c:v>
                </c:pt>
                <c:pt idx="25">
                  <c:v>1115.335941099198</c:v>
                </c:pt>
                <c:pt idx="26">
                  <c:v>1105.1641549790947</c:v>
                </c:pt>
                <c:pt idx="27">
                  <c:v>1094.0612799294468</c:v>
                </c:pt>
                <c:pt idx="28">
                  <c:v>1081.9455917359737</c:v>
                </c:pt>
                <c:pt idx="29">
                  <c:v>1068.807309041993</c:v>
                </c:pt>
                <c:pt idx="30">
                  <c:v>1055.0241557096015</c:v>
                </c:pt>
                <c:pt idx="31">
                  <c:v>1040.7550864105142</c:v>
                </c:pt>
                <c:pt idx="32">
                  <c:v>1025.8891083156777</c:v>
                </c:pt>
                <c:pt idx="33">
                  <c:v>1010.4870239173761</c:v>
                </c:pt>
                <c:pt idx="34">
                  <c:v>994.72321121889399</c:v>
                </c:pt>
                <c:pt idx="35">
                  <c:v>978.69698404413066</c:v>
                </c:pt>
                <c:pt idx="36">
                  <c:v>962.54717531692586</c:v>
                </c:pt>
                <c:pt idx="37">
                  <c:v>946.29235946733388</c:v>
                </c:pt>
                <c:pt idx="38">
                  <c:v>929.82535322969488</c:v>
                </c:pt>
                <c:pt idx="39">
                  <c:v>913.24308283273422</c:v>
                </c:pt>
                <c:pt idx="40">
                  <c:v>896.66251538325741</c:v>
                </c:pt>
                <c:pt idx="41">
                  <c:v>880.08043509261915</c:v>
                </c:pt>
                <c:pt idx="42">
                  <c:v>863.52737050990982</c:v>
                </c:pt>
                <c:pt idx="43">
                  <c:v>847.03251603296667</c:v>
                </c:pt>
                <c:pt idx="44">
                  <c:v>830.62018137803534</c:v>
                </c:pt>
                <c:pt idx="45">
                  <c:v>814.31117072822235</c:v>
                </c:pt>
                <c:pt idx="46">
                  <c:v>798.12355009600287</c:v>
                </c:pt>
                <c:pt idx="47">
                  <c:v>782.07311385739013</c:v>
                </c:pt>
                <c:pt idx="48">
                  <c:v>766.1737004002498</c:v>
                </c:pt>
                <c:pt idx="49">
                  <c:v>750.43742859226768</c:v>
                </c:pt>
                <c:pt idx="50">
                  <c:v>734.87488919234602</c:v>
                </c:pt>
                <c:pt idx="51">
                  <c:v>719.4953075258527</c:v>
                </c:pt>
                <c:pt idx="52">
                  <c:v>704.30668544929358</c:v>
                </c:pt>
                <c:pt idx="53">
                  <c:v>689.31592683456256</c:v>
                </c:pt>
                <c:pt idx="54">
                  <c:v>674.52894909714814</c:v>
                </c:pt>
                <c:pt idx="55">
                  <c:v>659.95078252410167</c:v>
                </c:pt>
                <c:pt idx="56">
                  <c:v>645.58565879779053</c:v>
                </c:pt>
                <c:pt idx="57">
                  <c:v>631.43708992260508</c:v>
                </c:pt>
                <c:pt idx="58">
                  <c:v>617.50793863032595</c:v>
                </c:pt>
                <c:pt idx="59">
                  <c:v>603.80048123886809</c:v>
                </c:pt>
                <c:pt idx="60">
                  <c:v>590.31646384013584</c:v>
                </c:pt>
                <c:pt idx="61">
                  <c:v>577.05715260203579</c:v>
                </c:pt>
                <c:pt idx="62">
                  <c:v>564.02337888264447</c:v>
                </c:pt>
                <c:pt idx="63">
                  <c:v>551.21557977280463</c:v>
                </c:pt>
                <c:pt idx="64">
                  <c:v>538.63383460993646</c:v>
                </c:pt>
                <c:pt idx="65">
                  <c:v>526.27789793809643</c:v>
                </c:pt>
                <c:pt idx="66">
                  <c:v>514.14722932939185</c:v>
                </c:pt>
                <c:pt idx="67">
                  <c:v>502.24102042918094</c:v>
                </c:pt>
                <c:pt idx="68">
                  <c:v>490.55821954092244</c:v>
                </c:pt>
                <c:pt idx="69">
                  <c:v>479.09755402573501</c:v>
                </c:pt>
                <c:pt idx="70">
                  <c:v>467.8575507561327</c:v>
                </c:pt>
                <c:pt idx="71">
                  <c:v>456.83655483319308</c:v>
                </c:pt>
                <c:pt idx="72">
                  <c:v>446.03274674975546</c:v>
                </c:pt>
                <c:pt idx="73">
                  <c:v>435.44415815870161</c:v>
                </c:pt>
                <c:pt idx="74">
                  <c:v>425.06868638601736</c:v>
                </c:pt>
                <c:pt idx="75">
                  <c:v>414.90410781075479</c:v>
                </c:pt>
                <c:pt idx="76">
                  <c:v>404.94809021975379</c:v>
                </c:pt>
                <c:pt idx="77">
                  <c:v>395.19820423098281</c:v>
                </c:pt>
                <c:pt idx="78">
                  <c:v>385.65193386908504</c:v>
                </c:pt>
                <c:pt idx="79">
                  <c:v>376.30668636763585</c:v>
                </c:pt>
                <c:pt idx="80">
                  <c:v>367.15980126202339</c:v>
                </c:pt>
                <c:pt idx="81">
                  <c:v>358.20855883232434</c:v>
                </c:pt>
                <c:pt idx="82">
                  <c:v>349.45018794763018</c:v>
                </c:pt>
                <c:pt idx="83">
                  <c:v>340.88187335742987</c:v>
                </c:pt>
                <c:pt idx="84">
                  <c:v>332.50076247288962</c:v>
                </c:pt>
                <c:pt idx="85">
                  <c:v>324.30397167440969</c:v>
                </c:pt>
                <c:pt idx="86">
                  <c:v>316.28859217913123</c:v>
                </c:pt>
                <c:pt idx="87">
                  <c:v>308.45169550017454</c:v>
                </c:pt>
                <c:pt idx="88">
                  <c:v>300.79033852333669</c:v>
                </c:pt>
                <c:pt idx="89">
                  <c:v>293.30156822878052</c:v>
                </c:pt>
                <c:pt idx="90">
                  <c:v>285.98242607872817</c:v>
                </c:pt>
                <c:pt idx="91">
                  <c:v>278.82995209406363</c:v>
                </c:pt>
                <c:pt idx="92">
                  <c:v>271.84118863809272</c:v>
                </c:pt>
                <c:pt idx="93">
                  <c:v>265.01318392631947</c:v>
                </c:pt>
                <c:pt idx="94">
                  <c:v>258.34299527821713</c:v>
                </c:pt>
                <c:pt idx="95">
                  <c:v>251.82769212688436</c:v>
                </c:pt>
                <c:pt idx="96">
                  <c:v>245.46435880078934</c:v>
                </c:pt>
                <c:pt idx="97">
                  <c:v>239.25009709098958</c:v>
                </c:pt>
                <c:pt idx="98">
                  <c:v>233.18202861610916</c:v>
                </c:pt>
                <c:pt idx="99">
                  <c:v>227.25729699744261</c:v>
                </c:pt>
                <c:pt idx="100">
                  <c:v>221.4730698542844</c:v>
                </c:pt>
                <c:pt idx="101">
                  <c:v>215.8265406305436</c:v>
                </c:pt>
                <c:pt idx="102">
                  <c:v>210.31493026213138</c:v>
                </c:pt>
                <c:pt idx="103">
                  <c:v>204.9354886940273</c:v>
                </c:pt>
                <c:pt idx="104">
                  <c:v>199.68549625607557</c:v>
                </c:pt>
                <c:pt idx="105">
                  <c:v>194.562264905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60-4826-BB40-446926342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3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G$2:$G$107</c:f>
              <c:numCache>
                <c:formatCode>General</c:formatCode>
                <c:ptCount val="106"/>
                <c:pt idx="0">
                  <c:v>130</c:v>
                </c:pt>
                <c:pt idx="1">
                  <c:v>149</c:v>
                </c:pt>
                <c:pt idx="2">
                  <c:v>132</c:v>
                </c:pt>
                <c:pt idx="3">
                  <c:v>172</c:v>
                </c:pt>
                <c:pt idx="4">
                  <c:v>176</c:v>
                </c:pt>
                <c:pt idx="5">
                  <c:v>174</c:v>
                </c:pt>
                <c:pt idx="6">
                  <c:v>146</c:v>
                </c:pt>
                <c:pt idx="7">
                  <c:v>166</c:v>
                </c:pt>
                <c:pt idx="8">
                  <c:v>148</c:v>
                </c:pt>
                <c:pt idx="9">
                  <c:v>144</c:v>
                </c:pt>
                <c:pt idx="10">
                  <c:v>181</c:v>
                </c:pt>
                <c:pt idx="11">
                  <c:v>191</c:v>
                </c:pt>
                <c:pt idx="12">
                  <c:v>192</c:v>
                </c:pt>
                <c:pt idx="13">
                  <c:v>179</c:v>
                </c:pt>
                <c:pt idx="14">
                  <c:v>204</c:v>
                </c:pt>
                <c:pt idx="15">
                  <c:v>191</c:v>
                </c:pt>
                <c:pt idx="16">
                  <c:v>200</c:v>
                </c:pt>
                <c:pt idx="17">
                  <c:v>213</c:v>
                </c:pt>
                <c:pt idx="18">
                  <c:v>179</c:v>
                </c:pt>
                <c:pt idx="19">
                  <c:v>202</c:v>
                </c:pt>
                <c:pt idx="20">
                  <c:v>197</c:v>
                </c:pt>
                <c:pt idx="21">
                  <c:v>235</c:v>
                </c:pt>
                <c:pt idx="22">
                  <c:v>226</c:v>
                </c:pt>
                <c:pt idx="23">
                  <c:v>225</c:v>
                </c:pt>
                <c:pt idx="24">
                  <c:v>228</c:v>
                </c:pt>
                <c:pt idx="25">
                  <c:v>209</c:v>
                </c:pt>
                <c:pt idx="26">
                  <c:v>175</c:v>
                </c:pt>
                <c:pt idx="27">
                  <c:v>222</c:v>
                </c:pt>
                <c:pt idx="28">
                  <c:v>234</c:v>
                </c:pt>
                <c:pt idx="29">
                  <c:v>215</c:v>
                </c:pt>
                <c:pt idx="30">
                  <c:v>196</c:v>
                </c:pt>
                <c:pt idx="31">
                  <c:v>213</c:v>
                </c:pt>
                <c:pt idx="32">
                  <c:v>172</c:v>
                </c:pt>
                <c:pt idx="33">
                  <c:v>176</c:v>
                </c:pt>
                <c:pt idx="34">
                  <c:v>188</c:v>
                </c:pt>
                <c:pt idx="35">
                  <c:v>205</c:v>
                </c:pt>
                <c:pt idx="36">
                  <c:v>191</c:v>
                </c:pt>
                <c:pt idx="37">
                  <c:v>180</c:v>
                </c:pt>
                <c:pt idx="38">
                  <c:v>155</c:v>
                </c:pt>
                <c:pt idx="39">
                  <c:v>152</c:v>
                </c:pt>
                <c:pt idx="40">
                  <c:v>178</c:v>
                </c:pt>
                <c:pt idx="41">
                  <c:v>116</c:v>
                </c:pt>
                <c:pt idx="42">
                  <c:v>174</c:v>
                </c:pt>
                <c:pt idx="43">
                  <c:v>168</c:v>
                </c:pt>
                <c:pt idx="44">
                  <c:v>148</c:v>
                </c:pt>
                <c:pt idx="45">
                  <c:v>146</c:v>
                </c:pt>
                <c:pt idx="46">
                  <c:v>103</c:v>
                </c:pt>
                <c:pt idx="47">
                  <c:v>119</c:v>
                </c:pt>
                <c:pt idx="48">
                  <c:v>139</c:v>
                </c:pt>
                <c:pt idx="49">
                  <c:v>121</c:v>
                </c:pt>
                <c:pt idx="50">
                  <c:v>113</c:v>
                </c:pt>
                <c:pt idx="51">
                  <c:v>123</c:v>
                </c:pt>
                <c:pt idx="52">
                  <c:v>120</c:v>
                </c:pt>
                <c:pt idx="53">
                  <c:v>102</c:v>
                </c:pt>
                <c:pt idx="54">
                  <c:v>105</c:v>
                </c:pt>
                <c:pt idx="55">
                  <c:v>89</c:v>
                </c:pt>
                <c:pt idx="56">
                  <c:v>84</c:v>
                </c:pt>
                <c:pt idx="57">
                  <c:v>87</c:v>
                </c:pt>
                <c:pt idx="58">
                  <c:v>88</c:v>
                </c:pt>
                <c:pt idx="59">
                  <c:v>85</c:v>
                </c:pt>
                <c:pt idx="60">
                  <c:v>61</c:v>
                </c:pt>
                <c:pt idx="61">
                  <c:v>73</c:v>
                </c:pt>
                <c:pt idx="62">
                  <c:v>75</c:v>
                </c:pt>
                <c:pt idx="63">
                  <c:v>70</c:v>
                </c:pt>
                <c:pt idx="64">
                  <c:v>63</c:v>
                </c:pt>
                <c:pt idx="65">
                  <c:v>62</c:v>
                </c:pt>
                <c:pt idx="66">
                  <c:v>56</c:v>
                </c:pt>
                <c:pt idx="67">
                  <c:v>50</c:v>
                </c:pt>
                <c:pt idx="68">
                  <c:v>51</c:v>
                </c:pt>
                <c:pt idx="69">
                  <c:v>52</c:v>
                </c:pt>
                <c:pt idx="70">
                  <c:v>53</c:v>
                </c:pt>
                <c:pt idx="71">
                  <c:v>49</c:v>
                </c:pt>
                <c:pt idx="72">
                  <c:v>64</c:v>
                </c:pt>
                <c:pt idx="73">
                  <c:v>38</c:v>
                </c:pt>
                <c:pt idx="74">
                  <c:v>32</c:v>
                </c:pt>
                <c:pt idx="75">
                  <c:v>23</c:v>
                </c:pt>
                <c:pt idx="7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V</c:v>
                </c:pt>
              </c:strCache>
            </c:strRef>
          </c:tx>
          <c:spPr>
            <a:ln w="28575" cap="rnd">
              <a:solidFill>
                <a:srgbClr val="FF99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C$2:$C$107</c:f>
              <c:numCache>
                <c:formatCode>General</c:formatCode>
                <c:ptCount val="106"/>
                <c:pt idx="10">
                  <c:v>134.08779717902181</c:v>
                </c:pt>
                <c:pt idx="11">
                  <c:v>138.3169686815144</c:v>
                </c:pt>
                <c:pt idx="12">
                  <c:v>142.58193610812279</c:v>
                </c:pt>
                <c:pt idx="13">
                  <c:v>147.69441769202919</c:v>
                </c:pt>
                <c:pt idx="14">
                  <c:v>152.85989829812647</c:v>
                </c:pt>
                <c:pt idx="15">
                  <c:v>157.73374849184216</c:v>
                </c:pt>
                <c:pt idx="16">
                  <c:v>162.73080074210259</c:v>
                </c:pt>
                <c:pt idx="17">
                  <c:v>167.80606666074425</c:v>
                </c:pt>
                <c:pt idx="18">
                  <c:v>172.33978088474313</c:v>
                </c:pt>
                <c:pt idx="19">
                  <c:v>176.56930809441448</c:v>
                </c:pt>
                <c:pt idx="20">
                  <c:v>180.64665746071981</c:v>
                </c:pt>
                <c:pt idx="21">
                  <c:v>184.14614497001352</c:v>
                </c:pt>
                <c:pt idx="22">
                  <c:v>187.17308187404208</c:v>
                </c:pt>
                <c:pt idx="23">
                  <c:v>190.12402256427134</c:v>
                </c:pt>
                <c:pt idx="24">
                  <c:v>192.49604142145537</c:v>
                </c:pt>
                <c:pt idx="25">
                  <c:v>194.09987642500889</c:v>
                </c:pt>
                <c:pt idx="26">
                  <c:v>195.535306363686</c:v>
                </c:pt>
                <c:pt idx="27">
                  <c:v>196.72721268298469</c:v>
                </c:pt>
                <c:pt idx="28">
                  <c:v>197.33250825405031</c:v>
                </c:pt>
                <c:pt idx="29">
                  <c:v>197.38065219143115</c:v>
                </c:pt>
                <c:pt idx="30">
                  <c:v>197.33345524557038</c:v>
                </c:pt>
                <c:pt idx="31">
                  <c:v>196.87932495703231</c:v>
                </c:pt>
                <c:pt idx="32">
                  <c:v>195.91437691191538</c:v>
                </c:pt>
                <c:pt idx="33">
                  <c:v>194.80609862624121</c:v>
                </c:pt>
                <c:pt idx="34">
                  <c:v>193.3725708249751</c:v>
                </c:pt>
                <c:pt idx="35">
                  <c:v>191.70027083395465</c:v>
                </c:pt>
                <c:pt idx="36">
                  <c:v>189.78988947651385</c:v>
                </c:pt>
                <c:pt idx="37">
                  <c:v>187.68363624133346</c:v>
                </c:pt>
                <c:pt idx="38">
                  <c:v>185.43704120682304</c:v>
                </c:pt>
                <c:pt idx="39">
                  <c:v>182.94832177233084</c:v>
                </c:pt>
                <c:pt idx="40">
                  <c:v>180.38139330338066</c:v>
                </c:pt>
                <c:pt idx="41">
                  <c:v>177.68500177828753</c:v>
                </c:pt>
                <c:pt idx="42">
                  <c:v>174.85284108958052</c:v>
                </c:pt>
                <c:pt idx="43">
                  <c:v>171.93833084382118</c:v>
                </c:pt>
                <c:pt idx="44">
                  <c:v>168.95364208998026</c:v>
                </c:pt>
                <c:pt idx="45">
                  <c:v>165.90998119287966</c:v>
                </c:pt>
                <c:pt idx="46">
                  <c:v>162.76651826398219</c:v>
                </c:pt>
                <c:pt idx="47">
                  <c:v>159.60044937796226</c:v>
                </c:pt>
                <c:pt idx="48">
                  <c:v>156.43872436935516</c:v>
                </c:pt>
                <c:pt idx="49">
                  <c:v>153.21063179960606</c:v>
                </c:pt>
                <c:pt idx="50">
                  <c:v>149.97542628203223</c:v>
                </c:pt>
                <c:pt idx="51">
                  <c:v>146.74505537907396</c:v>
                </c:pt>
                <c:pt idx="52">
                  <c:v>143.50898549948164</c:v>
                </c:pt>
                <c:pt idx="53">
                  <c:v>140.27906349263927</c:v>
                </c:pt>
                <c:pt idx="54">
                  <c:v>137.04255913246152</c:v>
                </c:pt>
                <c:pt idx="55">
                  <c:v>133.8144519144079</c:v>
                </c:pt>
                <c:pt idx="56">
                  <c:v>130.59310715313438</c:v>
                </c:pt>
                <c:pt idx="57">
                  <c:v>127.39984007021272</c:v>
                </c:pt>
                <c:pt idx="58">
                  <c:v>124.23841050653749</c:v>
                </c:pt>
                <c:pt idx="59">
                  <c:v>121.10804276656714</c:v>
                </c:pt>
                <c:pt idx="60">
                  <c:v>118.00374272665755</c:v>
                </c:pt>
                <c:pt idx="61">
                  <c:v>114.93646265992886</c:v>
                </c:pt>
                <c:pt idx="62">
                  <c:v>111.89809819371212</c:v>
                </c:pt>
                <c:pt idx="63">
                  <c:v>108.88711927061894</c:v>
                </c:pt>
                <c:pt idx="64">
                  <c:v>105.92285357051651</c:v>
                </c:pt>
                <c:pt idx="65">
                  <c:v>102.9751169905752</c:v>
                </c:pt>
                <c:pt idx="66">
                  <c:v>100.07694613153244</c:v>
                </c:pt>
                <c:pt idx="67">
                  <c:v>97.236149264908533</c:v>
                </c:pt>
                <c:pt idx="68">
                  <c:v>94.419507864979593</c:v>
                </c:pt>
                <c:pt idx="69">
                  <c:v>91.649276042638689</c:v>
                </c:pt>
                <c:pt idx="70">
                  <c:v>88.929740501859158</c:v>
                </c:pt>
                <c:pt idx="71">
                  <c:v>86.265176939855721</c:v>
                </c:pt>
                <c:pt idx="72">
                  <c:v>83.67380559320533</c:v>
                </c:pt>
                <c:pt idx="73">
                  <c:v>81.165987025222591</c:v>
                </c:pt>
                <c:pt idx="74">
                  <c:v>78.749714370619387</c:v>
                </c:pt>
                <c:pt idx="75">
                  <c:v>76.43027095192015</c:v>
                </c:pt>
                <c:pt idx="76">
                  <c:v>74.21017979911953</c:v>
                </c:pt>
                <c:pt idx="77">
                  <c:v>72.091763842270367</c:v>
                </c:pt>
                <c:pt idx="78">
                  <c:v>70.077193909677078</c:v>
                </c:pt>
                <c:pt idx="79">
                  <c:v>68.167238986247312</c:v>
                </c:pt>
                <c:pt idx="80">
                  <c:v>66.361947086257089</c:v>
                </c:pt>
                <c:pt idx="81">
                  <c:v>64.660087765109054</c:v>
                </c:pt>
                <c:pt idx="82">
                  <c:v>63.059049535498602</c:v>
                </c:pt>
                <c:pt idx="83">
                  <c:v>61.554554410524879</c:v>
                </c:pt>
                <c:pt idx="84">
                  <c:v>60.14160792889902</c:v>
                </c:pt>
                <c:pt idx="85">
                  <c:v>58.813742979496723</c:v>
                </c:pt>
                <c:pt idx="86">
                  <c:v>57.563743492488285</c:v>
                </c:pt>
                <c:pt idx="87">
                  <c:v>56.384360325950986</c:v>
                </c:pt>
                <c:pt idx="88">
                  <c:v>55.268007872137922</c:v>
                </c:pt>
                <c:pt idx="89">
                  <c:v>54.206396984745837</c:v>
                </c:pt>
                <c:pt idx="90">
                  <c:v>53.192225825476413</c:v>
                </c:pt>
                <c:pt idx="91">
                  <c:v>52.218687639011719</c:v>
                </c:pt>
                <c:pt idx="92">
                  <c:v>51.279275066603759</c:v>
                </c:pt>
                <c:pt idx="93">
                  <c:v>50.367745564389118</c:v>
                </c:pt>
                <c:pt idx="94">
                  <c:v>49.478937255691562</c:v>
                </c:pt>
                <c:pt idx="95">
                  <c:v>48.608480159220768</c:v>
                </c:pt>
                <c:pt idx="96">
                  <c:v>47.75232426704747</c:v>
                </c:pt>
                <c:pt idx="97">
                  <c:v>46.907259583076403</c:v>
                </c:pt>
                <c:pt idx="98">
                  <c:v>46.070919733097931</c:v>
                </c:pt>
                <c:pt idx="99">
                  <c:v>45.241790307196972</c:v>
                </c:pt>
                <c:pt idx="100">
                  <c:v>44.419007884676091</c:v>
                </c:pt>
                <c:pt idx="101">
                  <c:v>43.6020131291681</c:v>
                </c:pt>
                <c:pt idx="102">
                  <c:v>42.790781167859194</c:v>
                </c:pt>
                <c:pt idx="103">
                  <c:v>41.985219757867753</c:v>
                </c:pt>
                <c:pt idx="104">
                  <c:v>41.185525298331129</c:v>
                </c:pt>
                <c:pt idx="105">
                  <c:v>40.392049081935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31-46DE-A093-6A704C448CFB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D$2:$D$107</c:f>
              <c:numCache>
                <c:formatCode>General</c:formatCode>
                <c:ptCount val="106"/>
                <c:pt idx="10">
                  <c:v>133.67225201990925</c:v>
                </c:pt>
                <c:pt idx="11">
                  <c:v>137.08871174325824</c:v>
                </c:pt>
                <c:pt idx="12">
                  <c:v>140.48076864243941</c:v>
                </c:pt>
                <c:pt idx="13">
                  <c:v>144.61312895008422</c:v>
                </c:pt>
                <c:pt idx="14">
                  <c:v>148.74759729564039</c:v>
                </c:pt>
                <c:pt idx="15">
                  <c:v>152.61454528146712</c:v>
                </c:pt>
                <c:pt idx="16">
                  <c:v>156.56754325948657</c:v>
                </c:pt>
                <c:pt idx="17">
                  <c:v>160.56169480031534</c:v>
                </c:pt>
                <c:pt idx="18">
                  <c:v>164.06265133427922</c:v>
                </c:pt>
                <c:pt idx="19">
                  <c:v>167.30045785960448</c:v>
                </c:pt>
                <c:pt idx="20">
                  <c:v>170.41652689652705</c:v>
                </c:pt>
                <c:pt idx="21">
                  <c:v>172.98693340665886</c:v>
                </c:pt>
                <c:pt idx="22">
                  <c:v>175.15919834059889</c:v>
                </c:pt>
                <c:pt idx="23">
                  <c:v>177.29129103603395</c:v>
                </c:pt>
                <c:pt idx="24">
                  <c:v>178.91077190810333</c:v>
                </c:pt>
                <c:pt idx="25">
                  <c:v>179.79712423555756</c:v>
                </c:pt>
                <c:pt idx="26">
                  <c:v>180.54680740193697</c:v>
                </c:pt>
                <c:pt idx="27">
                  <c:v>181.08710623477572</c:v>
                </c:pt>
                <c:pt idx="28">
                  <c:v>181.09082108393829</c:v>
                </c:pt>
                <c:pt idx="29">
                  <c:v>180.55367267818471</c:v>
                </c:pt>
                <c:pt idx="30">
                  <c:v>179.93584570379454</c:v>
                </c:pt>
                <c:pt idx="31">
                  <c:v>178.92915666417528</c:v>
                </c:pt>
                <c:pt idx="32">
                  <c:v>177.430389952105</c:v>
                </c:pt>
                <c:pt idx="33">
                  <c:v>175.78053515041569</c:v>
                </c:pt>
                <c:pt idx="34">
                  <c:v>173.8064869158151</c:v>
                </c:pt>
                <c:pt idx="35">
                  <c:v>171.58839940704402</c:v>
                </c:pt>
                <c:pt idx="36">
                  <c:v>169.11810463465969</c:v>
                </c:pt>
                <c:pt idx="37">
                  <c:v>166.44421114141338</c:v>
                </c:pt>
                <c:pt idx="38">
                  <c:v>163.622389761064</c:v>
                </c:pt>
                <c:pt idx="39">
                  <c:v>160.5499802481859</c:v>
                </c:pt>
                <c:pt idx="40">
                  <c:v>157.3948257367384</c:v>
                </c:pt>
                <c:pt idx="41">
                  <c:v>154.09926379402825</c:v>
                </c:pt>
                <c:pt idx="42">
                  <c:v>150.6768701358053</c:v>
                </c:pt>
                <c:pt idx="43">
                  <c:v>147.17614141091883</c:v>
                </c:pt>
                <c:pt idx="44">
                  <c:v>143.6173608544245</c:v>
                </c:pt>
                <c:pt idx="45">
                  <c:v>140.01735403427577</c:v>
                </c:pt>
                <c:pt idx="46">
                  <c:v>136.33830574347058</c:v>
                </c:pt>
                <c:pt idx="47">
                  <c:v>132.66224012589171</c:v>
                </c:pt>
                <c:pt idx="48">
                  <c:v>129.02001652326473</c:v>
                </c:pt>
                <c:pt idx="49">
                  <c:v>125.34854663630219</c:v>
                </c:pt>
                <c:pt idx="50">
                  <c:v>121.70863565565664</c:v>
                </c:pt>
                <c:pt idx="51">
                  <c:v>118.1143734326057</c:v>
                </c:pt>
                <c:pt idx="52">
                  <c:v>114.56195452815446</c:v>
                </c:pt>
                <c:pt idx="53">
                  <c:v>111.06614628049535</c:v>
                </c:pt>
                <c:pt idx="54">
                  <c:v>107.61626053606136</c:v>
                </c:pt>
                <c:pt idx="55">
                  <c:v>104.22296242157796</c:v>
                </c:pt>
                <c:pt idx="56">
                  <c:v>100.88432771218993</c:v>
                </c:pt>
                <c:pt idx="57">
                  <c:v>97.614627529657028</c:v>
                </c:pt>
                <c:pt idx="58">
                  <c:v>94.41289573562841</c:v>
                </c:pt>
                <c:pt idx="59">
                  <c:v>91.274439986089774</c:v>
                </c:pt>
                <c:pt idx="60">
                  <c:v>88.189406485924792</c:v>
                </c:pt>
                <c:pt idx="61">
                  <c:v>85.164178096821615</c:v>
                </c:pt>
                <c:pt idx="62">
                  <c:v>82.192911792630596</c:v>
                </c:pt>
                <c:pt idx="63">
                  <c:v>79.275316819483066</c:v>
                </c:pt>
                <c:pt idx="64">
                  <c:v>76.429666958397661</c:v>
                </c:pt>
                <c:pt idx="65">
                  <c:v>73.624216521405003</c:v>
                </c:pt>
                <c:pt idx="66">
                  <c:v>70.890561807489448</c:v>
                </c:pt>
                <c:pt idx="67">
                  <c:v>68.234376934734215</c:v>
                </c:pt>
                <c:pt idx="68">
                  <c:v>65.624339150765465</c:v>
                </c:pt>
                <c:pt idx="69">
                  <c:v>63.082509837361755</c:v>
                </c:pt>
                <c:pt idx="70">
                  <c:v>60.611044819719609</c:v>
                </c:pt>
                <c:pt idx="71">
                  <c:v>58.214006564095143</c:v>
                </c:pt>
                <c:pt idx="72">
                  <c:v>55.901093401628337</c:v>
                </c:pt>
                <c:pt idx="73">
                  <c:v>53.677292218343041</c:v>
                </c:pt>
                <c:pt idx="74">
                  <c:v>51.546259021593819</c:v>
                </c:pt>
                <c:pt idx="75">
                  <c:v>49.509894337176561</c:v>
                </c:pt>
                <c:pt idx="76">
                  <c:v>47.568658180134477</c:v>
                </c:pt>
                <c:pt idx="77">
                  <c:v>45.722691891754494</c:v>
                </c:pt>
                <c:pt idx="78">
                  <c:v>43.971302549031535</c:v>
                </c:pt>
                <c:pt idx="79">
                  <c:v>42.312376345349399</c:v>
                </c:pt>
                <c:pt idx="80">
                  <c:v>40.743461505204891</c:v>
                </c:pt>
                <c:pt idx="81">
                  <c:v>39.261541352816124</c:v>
                </c:pt>
                <c:pt idx="82">
                  <c:v>37.862858638477604</c:v>
                </c:pt>
                <c:pt idx="83">
                  <c:v>36.541501555556586</c:v>
                </c:pt>
                <c:pt idx="84">
                  <c:v>35.289631760029344</c:v>
                </c:pt>
                <c:pt idx="85">
                  <c:v>34.098254012138888</c:v>
                </c:pt>
                <c:pt idx="86">
                  <c:v>32.957822965821897</c:v>
                </c:pt>
                <c:pt idx="87">
                  <c:v>31.859842730707417</c:v>
                </c:pt>
                <c:pt idx="88">
                  <c:v>30.797170221529306</c:v>
                </c:pt>
                <c:pt idx="89">
                  <c:v>29.763068297428905</c:v>
                </c:pt>
                <c:pt idx="90">
                  <c:v>28.752170753338888</c:v>
                </c:pt>
                <c:pt idx="91">
                  <c:v>27.760163354659497</c:v>
                </c:pt>
                <c:pt idx="92">
                  <c:v>26.784530598581171</c:v>
                </c:pt>
                <c:pt idx="93">
                  <c:v>25.824761002241583</c:v>
                </c:pt>
                <c:pt idx="94">
                  <c:v>24.881962961573233</c:v>
                </c:pt>
                <c:pt idx="95">
                  <c:v>23.958382626991462</c:v>
                </c:pt>
                <c:pt idx="96">
                  <c:v>23.056372710723345</c:v>
                </c:pt>
                <c:pt idx="97">
                  <c:v>22.178457952005211</c:v>
                </c:pt>
                <c:pt idx="98">
                  <c:v>21.327069514168159</c:v>
                </c:pt>
                <c:pt idx="99">
                  <c:v>20.504441937186556</c:v>
                </c:pt>
                <c:pt idx="100">
                  <c:v>19.712504623178354</c:v>
                </c:pt>
                <c:pt idx="101">
                  <c:v>18.952634885809495</c:v>
                </c:pt>
                <c:pt idx="102">
                  <c:v>18.225841334963185</c:v>
                </c:pt>
                <c:pt idx="103">
                  <c:v>17.532563087683215</c:v>
                </c:pt>
                <c:pt idx="104">
                  <c:v>16.872883683097008</c:v>
                </c:pt>
                <c:pt idx="105">
                  <c:v>16.2465905177949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431-46DE-A093-6A704C448CFB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I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07</c:f>
              <c:numCache>
                <c:formatCode>m/d/yyyy</c:formatCode>
                <c:ptCount val="106"/>
                <c:pt idx="0">
                  <c:v>44242</c:v>
                </c:pt>
                <c:pt idx="1">
                  <c:v>44243</c:v>
                </c:pt>
                <c:pt idx="2">
                  <c:v>44244</c:v>
                </c:pt>
                <c:pt idx="3">
                  <c:v>44245</c:v>
                </c:pt>
                <c:pt idx="4">
                  <c:v>44246</c:v>
                </c:pt>
                <c:pt idx="5">
                  <c:v>44247</c:v>
                </c:pt>
                <c:pt idx="6">
                  <c:v>44248</c:v>
                </c:pt>
                <c:pt idx="7">
                  <c:v>44249</c:v>
                </c:pt>
                <c:pt idx="8">
                  <c:v>44250</c:v>
                </c:pt>
                <c:pt idx="9">
                  <c:v>44251</c:v>
                </c:pt>
                <c:pt idx="10">
                  <c:v>44252</c:v>
                </c:pt>
                <c:pt idx="11">
                  <c:v>44253</c:v>
                </c:pt>
                <c:pt idx="12">
                  <c:v>44254</c:v>
                </c:pt>
                <c:pt idx="13">
                  <c:v>44255</c:v>
                </c:pt>
                <c:pt idx="14">
                  <c:v>44256</c:v>
                </c:pt>
                <c:pt idx="15">
                  <c:v>44257</c:v>
                </c:pt>
                <c:pt idx="16">
                  <c:v>44258</c:v>
                </c:pt>
                <c:pt idx="17">
                  <c:v>44259</c:v>
                </c:pt>
                <c:pt idx="18">
                  <c:v>44260</c:v>
                </c:pt>
                <c:pt idx="19">
                  <c:v>44261</c:v>
                </c:pt>
                <c:pt idx="20">
                  <c:v>44262</c:v>
                </c:pt>
                <c:pt idx="21">
                  <c:v>44263</c:v>
                </c:pt>
                <c:pt idx="22">
                  <c:v>44264</c:v>
                </c:pt>
                <c:pt idx="23">
                  <c:v>44265</c:v>
                </c:pt>
                <c:pt idx="24">
                  <c:v>44266</c:v>
                </c:pt>
                <c:pt idx="25">
                  <c:v>44267</c:v>
                </c:pt>
                <c:pt idx="26">
                  <c:v>44268</c:v>
                </c:pt>
                <c:pt idx="27">
                  <c:v>44269</c:v>
                </c:pt>
                <c:pt idx="28">
                  <c:v>44270</c:v>
                </c:pt>
                <c:pt idx="29">
                  <c:v>44271</c:v>
                </c:pt>
                <c:pt idx="30">
                  <c:v>44272</c:v>
                </c:pt>
                <c:pt idx="31">
                  <c:v>44273</c:v>
                </c:pt>
                <c:pt idx="32">
                  <c:v>44274</c:v>
                </c:pt>
                <c:pt idx="33">
                  <c:v>44275</c:v>
                </c:pt>
                <c:pt idx="34">
                  <c:v>44276</c:v>
                </c:pt>
                <c:pt idx="35">
                  <c:v>44277</c:v>
                </c:pt>
                <c:pt idx="36">
                  <c:v>44278</c:v>
                </c:pt>
                <c:pt idx="37">
                  <c:v>44279</c:v>
                </c:pt>
                <c:pt idx="38">
                  <c:v>44280</c:v>
                </c:pt>
                <c:pt idx="39">
                  <c:v>44281</c:v>
                </c:pt>
                <c:pt idx="40">
                  <c:v>44282</c:v>
                </c:pt>
                <c:pt idx="41">
                  <c:v>44283</c:v>
                </c:pt>
                <c:pt idx="42">
                  <c:v>44284</c:v>
                </c:pt>
                <c:pt idx="43">
                  <c:v>44285</c:v>
                </c:pt>
                <c:pt idx="44">
                  <c:v>44286</c:v>
                </c:pt>
                <c:pt idx="45">
                  <c:v>44287</c:v>
                </c:pt>
                <c:pt idx="46">
                  <c:v>44288</c:v>
                </c:pt>
                <c:pt idx="47">
                  <c:v>44289</c:v>
                </c:pt>
                <c:pt idx="48">
                  <c:v>44290</c:v>
                </c:pt>
                <c:pt idx="49">
                  <c:v>44291</c:v>
                </c:pt>
                <c:pt idx="50">
                  <c:v>44292</c:v>
                </c:pt>
                <c:pt idx="51">
                  <c:v>44293</c:v>
                </c:pt>
                <c:pt idx="52">
                  <c:v>44294</c:v>
                </c:pt>
                <c:pt idx="53">
                  <c:v>44295</c:v>
                </c:pt>
                <c:pt idx="54">
                  <c:v>44296</c:v>
                </c:pt>
                <c:pt idx="55">
                  <c:v>44297</c:v>
                </c:pt>
                <c:pt idx="56">
                  <c:v>44298</c:v>
                </c:pt>
                <c:pt idx="57">
                  <c:v>44299</c:v>
                </c:pt>
                <c:pt idx="58">
                  <c:v>44300</c:v>
                </c:pt>
                <c:pt idx="59">
                  <c:v>44301</c:v>
                </c:pt>
                <c:pt idx="60">
                  <c:v>44302</c:v>
                </c:pt>
                <c:pt idx="61">
                  <c:v>44303</c:v>
                </c:pt>
                <c:pt idx="62">
                  <c:v>44304</c:v>
                </c:pt>
                <c:pt idx="63">
                  <c:v>44305</c:v>
                </c:pt>
                <c:pt idx="64">
                  <c:v>44306</c:v>
                </c:pt>
                <c:pt idx="65">
                  <c:v>44307</c:v>
                </c:pt>
                <c:pt idx="66">
                  <c:v>44308</c:v>
                </c:pt>
                <c:pt idx="67">
                  <c:v>44309</c:v>
                </c:pt>
                <c:pt idx="68">
                  <c:v>44310</c:v>
                </c:pt>
                <c:pt idx="69">
                  <c:v>44311</c:v>
                </c:pt>
                <c:pt idx="70">
                  <c:v>44312</c:v>
                </c:pt>
                <c:pt idx="71">
                  <c:v>44313</c:v>
                </c:pt>
                <c:pt idx="72">
                  <c:v>44314</c:v>
                </c:pt>
                <c:pt idx="73">
                  <c:v>44315</c:v>
                </c:pt>
                <c:pt idx="74">
                  <c:v>44316</c:v>
                </c:pt>
                <c:pt idx="75">
                  <c:v>44317</c:v>
                </c:pt>
                <c:pt idx="76">
                  <c:v>44318</c:v>
                </c:pt>
                <c:pt idx="77">
                  <c:v>44319</c:v>
                </c:pt>
                <c:pt idx="78">
                  <c:v>44320</c:v>
                </c:pt>
                <c:pt idx="79">
                  <c:v>44321</c:v>
                </c:pt>
                <c:pt idx="80">
                  <c:v>44322</c:v>
                </c:pt>
                <c:pt idx="81">
                  <c:v>44323</c:v>
                </c:pt>
                <c:pt idx="82">
                  <c:v>44324</c:v>
                </c:pt>
                <c:pt idx="83">
                  <c:v>44325</c:v>
                </c:pt>
                <c:pt idx="84">
                  <c:v>44326</c:v>
                </c:pt>
                <c:pt idx="85">
                  <c:v>44327</c:v>
                </c:pt>
                <c:pt idx="86">
                  <c:v>44328</c:v>
                </c:pt>
                <c:pt idx="87">
                  <c:v>44329</c:v>
                </c:pt>
                <c:pt idx="88">
                  <c:v>44330</c:v>
                </c:pt>
                <c:pt idx="89">
                  <c:v>44331</c:v>
                </c:pt>
                <c:pt idx="90">
                  <c:v>44332</c:v>
                </c:pt>
                <c:pt idx="91">
                  <c:v>44333</c:v>
                </c:pt>
                <c:pt idx="92">
                  <c:v>44334</c:v>
                </c:pt>
                <c:pt idx="93">
                  <c:v>44335</c:v>
                </c:pt>
                <c:pt idx="94">
                  <c:v>44336</c:v>
                </c:pt>
                <c:pt idx="95">
                  <c:v>44337</c:v>
                </c:pt>
                <c:pt idx="96">
                  <c:v>44338</c:v>
                </c:pt>
                <c:pt idx="97">
                  <c:v>44339</c:v>
                </c:pt>
                <c:pt idx="98">
                  <c:v>44340</c:v>
                </c:pt>
                <c:pt idx="99">
                  <c:v>44341</c:v>
                </c:pt>
                <c:pt idx="100">
                  <c:v>44342</c:v>
                </c:pt>
                <c:pt idx="101">
                  <c:v>44343</c:v>
                </c:pt>
                <c:pt idx="102">
                  <c:v>44344</c:v>
                </c:pt>
                <c:pt idx="103">
                  <c:v>44345</c:v>
                </c:pt>
                <c:pt idx="104">
                  <c:v>44346</c:v>
                </c:pt>
                <c:pt idx="105">
                  <c:v>44347</c:v>
                </c:pt>
              </c:numCache>
            </c:numRef>
          </c:cat>
          <c:val>
            <c:numRef>
              <c:f>Sheet1!$F$2:$F$107</c:f>
              <c:numCache>
                <c:formatCode>General</c:formatCode>
                <c:ptCount val="106"/>
                <c:pt idx="10">
                  <c:v>134.28754207317729</c:v>
                </c:pt>
                <c:pt idx="11">
                  <c:v>138.92739763188584</c:v>
                </c:pt>
                <c:pt idx="12">
                  <c:v>143.66870670704924</c:v>
                </c:pt>
                <c:pt idx="13">
                  <c:v>149.34760249019917</c:v>
                </c:pt>
                <c:pt idx="14">
                  <c:v>155.14537213180577</c:v>
                </c:pt>
                <c:pt idx="15">
                  <c:v>160.68258464362043</c:v>
                </c:pt>
                <c:pt idx="16">
                  <c:v>166.40076707827461</c:v>
                </c:pt>
                <c:pt idx="17">
                  <c:v>172.25390592088766</c:v>
                </c:pt>
                <c:pt idx="18">
                  <c:v>177.58118777564707</c:v>
                </c:pt>
                <c:pt idx="19">
                  <c:v>182.61896089384268</c:v>
                </c:pt>
                <c:pt idx="20">
                  <c:v>187.51885695081242</c:v>
                </c:pt>
                <c:pt idx="21">
                  <c:v>191.84933484666124</c:v>
                </c:pt>
                <c:pt idx="22">
                  <c:v>195.69028340324491</c:v>
                </c:pt>
                <c:pt idx="23">
                  <c:v>199.44980317102443</c:v>
                </c:pt>
                <c:pt idx="24">
                  <c:v>202.605663685964</c:v>
                </c:pt>
                <c:pt idx="25">
                  <c:v>204.97526409836121</c:v>
                </c:pt>
                <c:pt idx="26">
                  <c:v>207.15541511568847</c:v>
                </c:pt>
                <c:pt idx="27">
                  <c:v>209.0641693387675</c:v>
                </c:pt>
                <c:pt idx="28">
                  <c:v>210.34580020736465</c:v>
                </c:pt>
                <c:pt idx="29">
                  <c:v>211.04226219266272</c:v>
                </c:pt>
                <c:pt idx="30">
                  <c:v>211.61311410122184</c:v>
                </c:pt>
                <c:pt idx="31">
                  <c:v>211.74214484578246</c:v>
                </c:pt>
                <c:pt idx="32">
                  <c:v>211.32146573833745</c:v>
                </c:pt>
                <c:pt idx="33">
                  <c:v>210.7290776521871</c:v>
                </c:pt>
                <c:pt idx="34">
                  <c:v>209.77854340781926</c:v>
                </c:pt>
                <c:pt idx="35">
                  <c:v>208.55717167282819</c:v>
                </c:pt>
                <c:pt idx="36">
                  <c:v>207.0711788794741</c:v>
                </c:pt>
                <c:pt idx="37">
                  <c:v>205.36185730083542</c:v>
                </c:pt>
                <c:pt idx="38">
                  <c:v>203.48677289383096</c:v>
                </c:pt>
                <c:pt idx="39">
                  <c:v>201.34730109323235</c:v>
                </c:pt>
                <c:pt idx="40">
                  <c:v>199.10861356396984</c:v>
                </c:pt>
                <c:pt idx="41">
                  <c:v>196.72594978816613</c:v>
                </c:pt>
                <c:pt idx="42">
                  <c:v>194.18694728614079</c:v>
                </c:pt>
                <c:pt idx="43">
                  <c:v>191.55042364589139</c:v>
                </c:pt>
                <c:pt idx="44">
                  <c:v>188.82828518094163</c:v>
                </c:pt>
                <c:pt idx="45">
                  <c:v>186.03258680849524</c:v>
                </c:pt>
                <c:pt idx="46">
                  <c:v>183.12527338810258</c:v>
                </c:pt>
                <c:pt idx="47">
                  <c:v>180.18548515990335</c:v>
                </c:pt>
                <c:pt idx="48">
                  <c:v>177.24195204618749</c:v>
                </c:pt>
                <c:pt idx="49">
                  <c:v>174.22266565560219</c:v>
                </c:pt>
                <c:pt idx="50">
                  <c:v>171.18858143674035</c:v>
                </c:pt>
                <c:pt idx="51">
                  <c:v>168.15367024460843</c:v>
                </c:pt>
                <c:pt idx="52">
                  <c:v>165.10726830243186</c:v>
                </c:pt>
                <c:pt idx="53">
                  <c:v>162.06371035236225</c:v>
                </c:pt>
                <c:pt idx="54">
                  <c:v>159.01180045621166</c:v>
                </c:pt>
                <c:pt idx="55">
                  <c:v>155.96789806897638</c:v>
                </c:pt>
                <c:pt idx="56">
                  <c:v>152.92862107760885</c:v>
                </c:pt>
                <c:pt idx="57">
                  <c:v>149.91539492163591</c:v>
                </c:pt>
                <c:pt idx="58">
                  <c:v>146.9303314892297</c:v>
                </c:pt>
                <c:pt idx="59">
                  <c:v>143.97055975279247</c:v>
                </c:pt>
                <c:pt idx="60">
                  <c:v>141.0308929476131</c:v>
                </c:pt>
                <c:pt idx="61">
                  <c:v>138.1244937074772</c:v>
                </c:pt>
                <c:pt idx="62">
                  <c:v>135.24444546706937</c:v>
                </c:pt>
                <c:pt idx="63">
                  <c:v>132.3919394713852</c:v>
                </c:pt>
                <c:pt idx="64">
                  <c:v>129.58767916452658</c:v>
                </c:pt>
                <c:pt idx="65">
                  <c:v>126.80031154798864</c:v>
                </c:pt>
                <c:pt idx="66">
                  <c:v>124.06171650708954</c:v>
                </c:pt>
                <c:pt idx="67">
                  <c:v>121.37904326362217</c:v>
                </c:pt>
                <c:pt idx="68">
                  <c:v>118.71708593829553</c:v>
                </c:pt>
                <c:pt idx="69">
                  <c:v>116.09741697091098</c:v>
                </c:pt>
                <c:pt idx="70">
                  <c:v>113.52411813005624</c:v>
                </c:pt>
                <c:pt idx="71">
                  <c:v>110.98865255143042</c:v>
                </c:pt>
                <c:pt idx="72">
                  <c:v>108.49441949131102</c:v>
                </c:pt>
                <c:pt idx="73">
                  <c:v>106.04222326035742</c:v>
                </c:pt>
                <c:pt idx="74">
                  <c:v>103.63217210946843</c:v>
                </c:pt>
                <c:pt idx="75">
                  <c:v>101.26411533427685</c:v>
                </c:pt>
                <c:pt idx="76">
                  <c:v>98.938222217465182</c:v>
                </c:pt>
                <c:pt idx="77">
                  <c:v>96.65450828791802</c:v>
                </c:pt>
                <c:pt idx="78">
                  <c:v>94.412761880638172</c:v>
                </c:pt>
                <c:pt idx="79">
                  <c:v>92.212824742455865</c:v>
                </c:pt>
                <c:pt idx="80">
                  <c:v>90.054593382766001</c:v>
                </c:pt>
                <c:pt idx="81">
                  <c:v>87.937895921293716</c:v>
                </c:pt>
                <c:pt idx="82">
                  <c:v>85.86239387950188</c:v>
                </c:pt>
                <c:pt idx="83">
                  <c:v>83.827756160093926</c:v>
                </c:pt>
                <c:pt idx="84">
                  <c:v>81.833691504334013</c:v>
                </c:pt>
                <c:pt idx="85">
                  <c:v>79.879796447441592</c:v>
                </c:pt>
                <c:pt idx="86">
                  <c:v>77.96566597545106</c:v>
                </c:pt>
                <c:pt idx="87">
                  <c:v>76.090917618922333</c:v>
                </c:pt>
                <c:pt idx="88">
                  <c:v>74.255099295608304</c:v>
                </c:pt>
                <c:pt idx="89">
                  <c:v>72.457725612895956</c:v>
                </c:pt>
                <c:pt idx="90">
                  <c:v>70.69832206493507</c:v>
                </c:pt>
                <c:pt idx="91">
                  <c:v>68.976396172970666</c:v>
                </c:pt>
                <c:pt idx="92">
                  <c:v>67.291419843176172</c:v>
                </c:pt>
                <c:pt idx="93">
                  <c:v>65.64288399564046</c:v>
                </c:pt>
                <c:pt idx="94">
                  <c:v>64.030258877484655</c:v>
                </c:pt>
                <c:pt idx="95">
                  <c:v>62.452993585676978</c:v>
                </c:pt>
                <c:pt idx="96">
                  <c:v>60.91055629677917</c:v>
                </c:pt>
                <c:pt idx="97">
                  <c:v>59.402395417606741</c:v>
                </c:pt>
                <c:pt idx="98">
                  <c:v>57.927939289094184</c:v>
                </c:pt>
                <c:pt idx="99">
                  <c:v>56.486632482270835</c:v>
                </c:pt>
                <c:pt idx="100">
                  <c:v>55.077918404208894</c:v>
                </c:pt>
                <c:pt idx="101">
                  <c:v>53.701231202055098</c:v>
                </c:pt>
                <c:pt idx="102">
                  <c:v>52.356007892332045</c:v>
                </c:pt>
                <c:pt idx="103">
                  <c:v>51.041685540317268</c:v>
                </c:pt>
                <c:pt idx="104">
                  <c:v>49.757702261386413</c:v>
                </c:pt>
                <c:pt idx="105">
                  <c:v>48.503497937047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31-46DE-A093-6A704C448C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date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Offset val="100"/>
        <c:baseTimeUnit val="days"/>
      </c:dateAx>
      <c:valAx>
        <c:axId val="2097783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0000242690338468"/>
          <c:y val="4.6874997116449491E-2"/>
          <c:w val="0.63135654138833119"/>
          <c:h val="4.508525805331827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H$155:$H$280</c:f>
              <c:numCache>
                <c:formatCode>General</c:formatCode>
                <c:ptCount val="12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F5-483F-B422-4E0629062509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I$155:$I$280</c:f>
              <c:numCache>
                <c:formatCode>General</c:formatCode>
                <c:ptCount val="126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F5-483F-B422-4E0629062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B$155:$B$280</c:f>
              <c:numCache>
                <c:formatCode>General</c:formatCode>
                <c:ptCount val="126"/>
                <c:pt idx="0">
                  <c:v>445.17740376113989</c:v>
                </c:pt>
                <c:pt idx="1">
                  <c:v>444.73790246980087</c:v>
                </c:pt>
                <c:pt idx="2">
                  <c:v>455.61322165761374</c:v>
                </c:pt>
                <c:pt idx="3">
                  <c:v>456.52027751420684</c:v>
                </c:pt>
                <c:pt idx="4">
                  <c:v>461.84104846679975</c:v>
                </c:pt>
                <c:pt idx="5">
                  <c:v>468.99463331518911</c:v>
                </c:pt>
                <c:pt idx="6">
                  <c:v>467.85380017596884</c:v>
                </c:pt>
                <c:pt idx="7">
                  <c:v>473.09041130681589</c:v>
                </c:pt>
                <c:pt idx="8">
                  <c:v>483.70389993808647</c:v>
                </c:pt>
                <c:pt idx="9">
                  <c:v>482.49760915973059</c:v>
                </c:pt>
                <c:pt idx="10">
                  <c:v>491.01645333866219</c:v>
                </c:pt>
                <c:pt idx="11">
                  <c:v>492.96148033011968</c:v>
                </c:pt>
                <c:pt idx="12">
                  <c:v>495.9631806390517</c:v>
                </c:pt>
                <c:pt idx="13">
                  <c:v>499.9747988089328</c:v>
                </c:pt>
                <c:pt idx="14">
                  <c:v>510.5228298010677</c:v>
                </c:pt>
                <c:pt idx="15">
                  <c:v>532.26411708538831</c:v>
                </c:pt>
                <c:pt idx="16">
                  <c:v>545.36499600381114</c:v>
                </c:pt>
                <c:pt idx="17">
                  <c:v>570.48202724926705</c:v>
                </c:pt>
                <c:pt idx="18">
                  <c:v>593.4670096771639</c:v>
                </c:pt>
                <c:pt idx="19">
                  <c:v>608.74669286967128</c:v>
                </c:pt>
                <c:pt idx="20">
                  <c:v>619.85578934011119</c:v>
                </c:pt>
                <c:pt idx="21">
                  <c:v>643.280273059347</c:v>
                </c:pt>
                <c:pt idx="22">
                  <c:v>673.50300015737878</c:v>
                </c:pt>
                <c:pt idx="23">
                  <c:v>700.21906801600426</c:v>
                </c:pt>
                <c:pt idx="24">
                  <c:v>727.18761533986674</c:v>
                </c:pt>
                <c:pt idx="25">
                  <c:v>759.79487072069514</c:v>
                </c:pt>
                <c:pt idx="26">
                  <c:v>769.60416549972831</c:v>
                </c:pt>
                <c:pt idx="27">
                  <c:v>774.45738188706707</c:v>
                </c:pt>
                <c:pt idx="28">
                  <c:v>783.01363043121898</c:v>
                </c:pt>
                <c:pt idx="29">
                  <c:v>791.78495407538787</c:v>
                </c:pt>
                <c:pt idx="30">
                  <c:v>805.26922773731928</c:v>
                </c:pt>
                <c:pt idx="31">
                  <c:v>805.83029321562424</c:v>
                </c:pt>
                <c:pt idx="32">
                  <c:v>790.8124405796591</c:v>
                </c:pt>
                <c:pt idx="33">
                  <c:v>803.02496582409913</c:v>
                </c:pt>
                <c:pt idx="34">
                  <c:v>797.36755558452319</c:v>
                </c:pt>
                <c:pt idx="35">
                  <c:v>781.73253092242248</c:v>
                </c:pt>
                <c:pt idx="36">
                  <c:v>768.47268345181317</c:v>
                </c:pt>
                <c:pt idx="37">
                  <c:v>761.89886626433906</c:v>
                </c:pt>
                <c:pt idx="38">
                  <c:v>730.07710255313782</c:v>
                </c:pt>
                <c:pt idx="39">
                  <c:v>746.82490708054354</c:v>
                </c:pt>
                <c:pt idx="40">
                  <c:v>726.49563458329055</c:v>
                </c:pt>
                <c:pt idx="41">
                  <c:v>720.4174252349859</c:v>
                </c:pt>
                <c:pt idx="42">
                  <c:v>720.20235013496904</c:v>
                </c:pt>
                <c:pt idx="43">
                  <c:v>707.7466965165969</c:v>
                </c:pt>
                <c:pt idx="44">
                  <c:v>684.30351061475096</c:v>
                </c:pt>
                <c:pt idx="45">
                  <c:v>678.83312220127686</c:v>
                </c:pt>
                <c:pt idx="46">
                  <c:v>629.73989284958509</c:v>
                </c:pt>
                <c:pt idx="47">
                  <c:v>615.80676680500983</c:v>
                </c:pt>
                <c:pt idx="48">
                  <c:v>606.99803879562057</c:v>
                </c:pt>
                <c:pt idx="49">
                  <c:v>584.64893057646952</c:v>
                </c:pt>
                <c:pt idx="50">
                  <c:v>556.0345911829121</c:v>
                </c:pt>
                <c:pt idx="51">
                  <c:v>526.28876974143952</c:v>
                </c:pt>
                <c:pt idx="52">
                  <c:v>500.71353502203442</c:v>
                </c:pt>
                <c:pt idx="53">
                  <c:v>482.02070350317126</c:v>
                </c:pt>
                <c:pt idx="54">
                  <c:v>468.02211981946033</c:v>
                </c:pt>
                <c:pt idx="55">
                  <c:v>461.98131483637599</c:v>
                </c:pt>
                <c:pt idx="56">
                  <c:v>449.77814068324125</c:v>
                </c:pt>
                <c:pt idx="57">
                  <c:v>427.91528921195453</c:v>
                </c:pt>
                <c:pt idx="58">
                  <c:v>413.09380949339624</c:v>
                </c:pt>
                <c:pt idx="59">
                  <c:v>397.38397610085485</c:v>
                </c:pt>
                <c:pt idx="60">
                  <c:v>361.15784838495898</c:v>
                </c:pt>
                <c:pt idx="61">
                  <c:v>344.24172421406178</c:v>
                </c:pt>
                <c:pt idx="62">
                  <c:v>345.93427174028204</c:v>
                </c:pt>
                <c:pt idx="63">
                  <c:v>294.353652101438</c:v>
                </c:pt>
                <c:pt idx="64">
                  <c:v>265.84217471223656</c:v>
                </c:pt>
                <c:pt idx="65">
                  <c:v>263.86909444686376</c:v>
                </c:pt>
                <c:pt idx="66">
                  <c:v>254.86399352006779</c:v>
                </c:pt>
                <c:pt idx="67">
                  <c:v>264.04676518166036</c:v>
                </c:pt>
                <c:pt idx="68">
                  <c:v>264.45821319908407</c:v>
                </c:pt>
                <c:pt idx="69">
                  <c:v>255.67753846361009</c:v>
                </c:pt>
                <c:pt idx="70">
                  <c:v>278.57836106976112</c:v>
                </c:pt>
                <c:pt idx="71">
                  <c:v>273.66903813459191</c:v>
                </c:pt>
                <c:pt idx="72">
                  <c:v>242.4737975408313</c:v>
                </c:pt>
                <c:pt idx="73">
                  <c:v>223.59394419586647</c:v>
                </c:pt>
                <c:pt idx="74">
                  <c:v>208.59479374251154</c:v>
                </c:pt>
                <c:pt idx="75">
                  <c:v>202.39502020724075</c:v>
                </c:pt>
                <c:pt idx="76">
                  <c:v>200.96430323756289</c:v>
                </c:pt>
                <c:pt idx="77">
                  <c:v>196.02692702847847</c:v>
                </c:pt>
                <c:pt idx="78">
                  <c:v>184.42222271886908</c:v>
                </c:pt>
                <c:pt idx="79">
                  <c:v>177.27798896178481</c:v>
                </c:pt>
                <c:pt idx="80">
                  <c:v>171.34939707436146</c:v>
                </c:pt>
                <c:pt idx="81">
                  <c:v>165.60782701303981</c:v>
                </c:pt>
                <c:pt idx="82">
                  <c:v>163.41032055634503</c:v>
                </c:pt>
                <c:pt idx="83">
                  <c:v>163.33551182590438</c:v>
                </c:pt>
                <c:pt idx="84">
                  <c:v>156.21933134273536</c:v>
                </c:pt>
                <c:pt idx="85">
                  <c:v>150.81440056839674</c:v>
                </c:pt>
                <c:pt idx="86">
                  <c:v>146.48484529414279</c:v>
                </c:pt>
                <c:pt idx="87">
                  <c:v>142.73505768080406</c:v>
                </c:pt>
                <c:pt idx="88">
                  <c:v>138.68603514570262</c:v>
                </c:pt>
                <c:pt idx="89">
                  <c:v>137.42363781951627</c:v>
                </c:pt>
                <c:pt idx="90">
                  <c:v>134.42193751058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C$155:$C$280</c:f>
              <c:numCache>
                <c:formatCode>General</c:formatCode>
                <c:ptCount val="12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14A-45E8-87A1-7BD2345ADB4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D$155:$D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4.6939331319042</c:v>
                </c:pt>
                <c:pt idx="86" formatCode="0">
                  <c:v>158.12516246310662</c:v>
                </c:pt>
                <c:pt idx="87" formatCode="0">
                  <c:v>151.50280042521626</c:v>
                </c:pt>
                <c:pt idx="88" formatCode="0">
                  <c:v>144.93402975641871</c:v>
                </c:pt>
                <c:pt idx="89" formatCode="0">
                  <c:v>138.3422913580099</c:v>
                </c:pt>
                <c:pt idx="90" formatCode="0">
                  <c:v>131.68164977076759</c:v>
                </c:pt>
                <c:pt idx="91" formatCode="0">
                  <c:v>124.92148135521016</c:v>
                </c:pt>
                <c:pt idx="92" formatCode="0">
                  <c:v>118.84268891811774</c:v>
                </c:pt>
                <c:pt idx="93" formatCode="0">
                  <c:v>113.19262743376736</c:v>
                </c:pt>
                <c:pt idx="94" formatCode="0">
                  <c:v>107.81817870475116</c:v>
                </c:pt>
                <c:pt idx="95" formatCode="0">
                  <c:v>102.59684817314283</c:v>
                </c:pt>
                <c:pt idx="96" formatCode="0">
                  <c:v>97.559259478423925</c:v>
                </c:pt>
                <c:pt idx="97" formatCode="0">
                  <c:v>92.759003989687216</c:v>
                </c:pt>
                <c:pt idx="98" formatCode="0">
                  <c:v>88.226705346414278</c:v>
                </c:pt>
                <c:pt idx="99" formatCode="0">
                  <c:v>84.008299007827475</c:v>
                </c:pt>
                <c:pt idx="100" formatCode="0">
                  <c:v>80.004258145611715</c:v>
                </c:pt>
                <c:pt idx="101" formatCode="0">
                  <c:v>76.160991390674198</c:v>
                </c:pt>
                <c:pt idx="102" formatCode="0">
                  <c:v>72.478498743014939</c:v>
                </c:pt>
                <c:pt idx="103" formatCode="0">
                  <c:v>68.995059751985906</c:v>
                </c:pt>
                <c:pt idx="104" formatCode="0">
                  <c:v>65.7106744175871</c:v>
                </c:pt>
                <c:pt idx="105" formatCode="0">
                  <c:v>62.602375010207361</c:v>
                </c:pt>
                <c:pt idx="106" formatCode="0">
                  <c:v>59.647193800235485</c:v>
                </c:pt>
                <c:pt idx="107" formatCode="0">
                  <c:v>56.829818967930684</c:v>
                </c:pt>
                <c:pt idx="108" formatCode="0">
                  <c:v>54.150250513292974</c:v>
                </c:pt>
                <c:pt idx="109" formatCode="0">
                  <c:v>51.608488436322347</c:v>
                </c:pt>
                <c:pt idx="110" formatCode="0">
                  <c:v>49.204532737018802</c:v>
                </c:pt>
                <c:pt idx="111" formatCode="0">
                  <c:v>46.915415685771151</c:v>
                </c:pt>
                <c:pt idx="112" formatCode="0">
                  <c:v>44.748793192449803</c:v>
                </c:pt>
                <c:pt idx="113" formatCode="0">
                  <c:v>42.697009347184355</c:v>
                </c:pt>
                <c:pt idx="114" formatCode="0">
                  <c:v>40.737096420363628</c:v>
                </c:pt>
                <c:pt idx="115" formatCode="0">
                  <c:v>38.884366231728407</c:v>
                </c:pt>
                <c:pt idx="116" formatCode="0">
                  <c:v>37.123506961537906</c:v>
                </c:pt>
                <c:pt idx="117" formatCode="0">
                  <c:v>35.446862699921745</c:v>
                </c:pt>
                <c:pt idx="118" formatCode="0">
                  <c:v>33.862089356750296</c:v>
                </c:pt>
                <c:pt idx="119" formatCode="0">
                  <c:v>32.353875112282779</c:v>
                </c:pt>
                <c:pt idx="120" formatCode="0">
                  <c:v>30.914564056648807</c:v>
                </c:pt>
                <c:pt idx="121" formatCode="0">
                  <c:v>29.559468009589164</c:v>
                </c:pt>
                <c:pt idx="122" formatCode="0">
                  <c:v>28.265619241492672</c:v>
                </c:pt>
                <c:pt idx="123" formatCode="0">
                  <c:v>27.040673662229718</c:v>
                </c:pt>
                <c:pt idx="124" formatCode="0">
                  <c:v>25.876975361929908</c:v>
                </c:pt>
                <c:pt idx="125" formatCode="0">
                  <c:v>24.774524340593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14A-45E8-87A1-7BD2345ADB4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E$155:$E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5.70451323479614</c:v>
                </c:pt>
                <c:pt idx="86" formatCode="0">
                  <c:v>160.69754817955882</c:v>
                </c:pt>
                <c:pt idx="87" formatCode="0">
                  <c:v>155.93557224017411</c:v>
                </c:pt>
                <c:pt idx="88" formatCode="0">
                  <c:v>151.37264995741961</c:v>
                </c:pt>
                <c:pt idx="89" formatCode="0">
                  <c:v>147.03940497077687</c:v>
                </c:pt>
                <c:pt idx="90" formatCode="0">
                  <c:v>142.94349319011638</c:v>
                </c:pt>
                <c:pt idx="91" formatCode="0">
                  <c:v>139.07725870556766</c:v>
                </c:pt>
                <c:pt idx="92" formatCode="0">
                  <c:v>135.22633604075978</c:v>
                </c:pt>
                <c:pt idx="93" formatCode="0">
                  <c:v>131.4443165647854</c:v>
                </c:pt>
                <c:pt idx="94" formatCode="0">
                  <c:v>127.7847916467373</c:v>
                </c:pt>
                <c:pt idx="95" formatCode="0">
                  <c:v>124.27072901622672</c:v>
                </c:pt>
                <c:pt idx="96" formatCode="0">
                  <c:v>120.87150503377202</c:v>
                </c:pt>
                <c:pt idx="97" formatCode="0">
                  <c:v>117.57946378950282</c:v>
                </c:pt>
                <c:pt idx="98" formatCode="0">
                  <c:v>114.37163755380797</c:v>
                </c:pt>
                <c:pt idx="99" formatCode="0">
                  <c:v>111.23271450694666</c:v>
                </c:pt>
                <c:pt idx="100" formatCode="0">
                  <c:v>108.18566237853005</c:v>
                </c:pt>
                <c:pt idx="101" formatCode="0">
                  <c:v>105.23813707842855</c:v>
                </c:pt>
                <c:pt idx="102" formatCode="0">
                  <c:v>102.3901386066422</c:v>
                </c:pt>
                <c:pt idx="103" formatCode="0">
                  <c:v>99.618699233559767</c:v>
                </c:pt>
                <c:pt idx="104" formatCode="0">
                  <c:v>96.916163049310853</c:v>
                </c:pt>
                <c:pt idx="105" formatCode="0">
                  <c:v>94.290185963765907</c:v>
                </c:pt>
                <c:pt idx="106" formatCode="0">
                  <c:v>91.74842388679528</c:v>
                </c:pt>
                <c:pt idx="107" formatCode="0">
                  <c:v>89.283220908528591</c:v>
                </c:pt>
                <c:pt idx="108" formatCode="0">
                  <c:v>86.894577028965827</c:v>
                </c:pt>
                <c:pt idx="109" formatCode="0">
                  <c:v>84.5671804283662</c:v>
                </c:pt>
                <c:pt idx="110" formatCode="0">
                  <c:v>82.316342926470512</c:v>
                </c:pt>
                <c:pt idx="111" formatCode="0">
                  <c:v>80.126752703537989</c:v>
                </c:pt>
                <c:pt idx="112" formatCode="0">
                  <c:v>77.998409759568617</c:v>
                </c:pt>
                <c:pt idx="113" formatCode="0">
                  <c:v>75.931314094562396</c:v>
                </c:pt>
                <c:pt idx="114" formatCode="0">
                  <c:v>73.925465708519297</c:v>
                </c:pt>
                <c:pt idx="115" formatCode="0">
                  <c:v>71.973208691568971</c:v>
                </c:pt>
                <c:pt idx="116" formatCode="0">
                  <c:v>70.082198953581766</c:v>
                </c:pt>
                <c:pt idx="117" formatCode="0">
                  <c:v>68.237124674816968</c:v>
                </c:pt>
                <c:pt idx="118" formatCode="0">
                  <c:v>66.453297675015278</c:v>
                </c:pt>
                <c:pt idx="119" formatCode="0">
                  <c:v>64.715406134435952</c:v>
                </c:pt>
                <c:pt idx="120" formatCode="0">
                  <c:v>63.03110596294939</c:v>
                </c:pt>
                <c:pt idx="121" formatCode="0">
                  <c:v>61.400397160555592</c:v>
                </c:pt>
                <c:pt idx="122" formatCode="0">
                  <c:v>59.815623817384143</c:v>
                </c:pt>
                <c:pt idx="123" formatCode="0">
                  <c:v>58.27678593343505</c:v>
                </c:pt>
                <c:pt idx="124" formatCode="0">
                  <c:v>56.783883508708321</c:v>
                </c:pt>
                <c:pt idx="125" formatCode="0">
                  <c:v>55.3292606333335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4A-45E8-87A1-7BD2345ADB4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F$155:$F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6.70743742781769</c:v>
                </c:pt>
                <c:pt idx="86" formatCode="0">
                  <c:v>163.26227798614065</c:v>
                </c:pt>
                <c:pt idx="87" formatCode="0">
                  <c:v>160.36068814526149</c:v>
                </c:pt>
                <c:pt idx="88" formatCode="0">
                  <c:v>157.8036142485501</c:v>
                </c:pt>
                <c:pt idx="89" formatCode="0">
                  <c:v>155.77479813289582</c:v>
                </c:pt>
                <c:pt idx="90" formatCode="0">
                  <c:v>154.36611071674341</c:v>
                </c:pt>
                <c:pt idx="91" formatCode="0">
                  <c:v>153.61583154944486</c:v>
                </c:pt>
                <c:pt idx="92" formatCode="0">
                  <c:v>152.32198278134837</c:v>
                </c:pt>
                <c:pt idx="93" formatCode="0">
                  <c:v>150.80611262701044</c:v>
                </c:pt>
                <c:pt idx="94" formatCode="0">
                  <c:v>149.32852202202454</c:v>
                </c:pt>
                <c:pt idx="95" formatCode="0">
                  <c:v>148.10357644276158</c:v>
                </c:pt>
                <c:pt idx="96" formatCode="0">
                  <c:v>147.02409315103611</c:v>
                </c:pt>
                <c:pt idx="97" formatCode="0">
                  <c:v>145.97523349879222</c:v>
                </c:pt>
                <c:pt idx="98" formatCode="0">
                  <c:v>144.84981474784436</c:v>
                </c:pt>
                <c:pt idx="99" formatCode="0">
                  <c:v>143.59424552909985</c:v>
                </c:pt>
                <c:pt idx="100" formatCode="0">
                  <c:v>142.36929994983686</c:v>
                </c:pt>
                <c:pt idx="101" formatCode="0">
                  <c:v>141.23622528901865</c:v>
                </c:pt>
                <c:pt idx="102" formatCode="0">
                  <c:v>140.17970972690432</c:v>
                </c:pt>
                <c:pt idx="103" formatCode="0">
                  <c:v>139.10788234504926</c:v>
                </c:pt>
                <c:pt idx="104" formatCode="0">
                  <c:v>138.0054313237126</c:v>
                </c:pt>
                <c:pt idx="105" formatCode="0">
                  <c:v>136.88001257276477</c:v>
                </c:pt>
                <c:pt idx="106" formatCode="0">
                  <c:v>135.76224973168732</c:v>
                </c:pt>
                <c:pt idx="107" formatCode="0">
                  <c:v>134.69807825970261</c:v>
                </c:pt>
                <c:pt idx="108" formatCode="0">
                  <c:v>133.66453042719951</c:v>
                </c:pt>
                <c:pt idx="109" formatCode="0">
                  <c:v>132.63098259469638</c:v>
                </c:pt>
                <c:pt idx="110" formatCode="0">
                  <c:v>131.58212294245249</c:v>
                </c:pt>
                <c:pt idx="111" formatCode="0">
                  <c:v>130.53326329020857</c:v>
                </c:pt>
                <c:pt idx="112" formatCode="0">
                  <c:v>129.50737136757584</c:v>
                </c:pt>
                <c:pt idx="113" formatCode="0">
                  <c:v>128.49679126468391</c:v>
                </c:pt>
                <c:pt idx="114" formatCode="0">
                  <c:v>127.50152298153277</c:v>
                </c:pt>
                <c:pt idx="115" formatCode="0">
                  <c:v>126.51391060825202</c:v>
                </c:pt>
                <c:pt idx="116" formatCode="0">
                  <c:v>125.52629823497125</c:v>
                </c:pt>
                <c:pt idx="117" formatCode="0">
                  <c:v>124.55399768143127</c:v>
                </c:pt>
                <c:pt idx="118" formatCode="0">
                  <c:v>123.5816971278913</c:v>
                </c:pt>
                <c:pt idx="119" formatCode="0">
                  <c:v>122.62470839409212</c:v>
                </c:pt>
                <c:pt idx="120" formatCode="0">
                  <c:v>121.68303148003372</c:v>
                </c:pt>
                <c:pt idx="121" formatCode="0">
                  <c:v>120.74135456597533</c:v>
                </c:pt>
                <c:pt idx="122" formatCode="0">
                  <c:v>119.80733356178732</c:v>
                </c:pt>
                <c:pt idx="123" formatCode="0">
                  <c:v>118.8809684674697</c:v>
                </c:pt>
                <c:pt idx="124" formatCode="0">
                  <c:v>117.9622592830225</c:v>
                </c:pt>
                <c:pt idx="125" formatCode="0">
                  <c:v>117.058861918316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4A-45E8-87A1-7BD2345ADB4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55:$A$280</c:f>
              <c:numCache>
                <c:formatCode>m/d/yyyy</c:formatCode>
                <c:ptCount val="126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  <c:pt idx="90">
                  <c:v>44318</c:v>
                </c:pt>
                <c:pt idx="91">
                  <c:v>44319</c:v>
                </c:pt>
                <c:pt idx="92">
                  <c:v>44320</c:v>
                </c:pt>
                <c:pt idx="93">
                  <c:v>44321</c:v>
                </c:pt>
                <c:pt idx="94">
                  <c:v>44322</c:v>
                </c:pt>
                <c:pt idx="95">
                  <c:v>44323</c:v>
                </c:pt>
                <c:pt idx="96">
                  <c:v>44324</c:v>
                </c:pt>
                <c:pt idx="97">
                  <c:v>44325</c:v>
                </c:pt>
                <c:pt idx="98">
                  <c:v>44326</c:v>
                </c:pt>
                <c:pt idx="99">
                  <c:v>44327</c:v>
                </c:pt>
                <c:pt idx="100">
                  <c:v>44328</c:v>
                </c:pt>
                <c:pt idx="101">
                  <c:v>44329</c:v>
                </c:pt>
                <c:pt idx="102">
                  <c:v>44330</c:v>
                </c:pt>
                <c:pt idx="103">
                  <c:v>44331</c:v>
                </c:pt>
                <c:pt idx="104">
                  <c:v>44332</c:v>
                </c:pt>
                <c:pt idx="105">
                  <c:v>44333</c:v>
                </c:pt>
                <c:pt idx="106">
                  <c:v>44334</c:v>
                </c:pt>
                <c:pt idx="107">
                  <c:v>44335</c:v>
                </c:pt>
                <c:pt idx="108">
                  <c:v>44336</c:v>
                </c:pt>
                <c:pt idx="109">
                  <c:v>44337</c:v>
                </c:pt>
                <c:pt idx="110">
                  <c:v>44338</c:v>
                </c:pt>
                <c:pt idx="111">
                  <c:v>44339</c:v>
                </c:pt>
                <c:pt idx="112">
                  <c:v>44340</c:v>
                </c:pt>
                <c:pt idx="113">
                  <c:v>44341</c:v>
                </c:pt>
                <c:pt idx="114">
                  <c:v>44342</c:v>
                </c:pt>
                <c:pt idx="115">
                  <c:v>44343</c:v>
                </c:pt>
                <c:pt idx="116">
                  <c:v>44344</c:v>
                </c:pt>
                <c:pt idx="117">
                  <c:v>44345</c:v>
                </c:pt>
                <c:pt idx="118">
                  <c:v>44346</c:v>
                </c:pt>
                <c:pt idx="119">
                  <c:v>44347</c:v>
                </c:pt>
                <c:pt idx="120">
                  <c:v>44348</c:v>
                </c:pt>
                <c:pt idx="121">
                  <c:v>44349</c:v>
                </c:pt>
                <c:pt idx="122">
                  <c:v>44350</c:v>
                </c:pt>
                <c:pt idx="123">
                  <c:v>44351</c:v>
                </c:pt>
                <c:pt idx="124">
                  <c:v>44352</c:v>
                </c:pt>
                <c:pt idx="125">
                  <c:v>44353</c:v>
                </c:pt>
              </c:numCache>
            </c:numRef>
          </c:cat>
          <c:val>
            <c:numRef>
              <c:f>Sheet1!$G$155:$G$280</c:f>
              <c:numCache>
                <c:formatCode>General</c:formatCode>
                <c:ptCount val="126"/>
                <c:pt idx="84" formatCode="0">
                  <c:v>170.99474695523804</c:v>
                </c:pt>
                <c:pt idx="85" formatCode="0">
                  <c:v>168.21565167228522</c:v>
                </c:pt>
                <c:pt idx="86" formatCode="0">
                  <c:v>167.12085656081891</c:v>
                </c:pt>
                <c:pt idx="87" formatCode="0">
                  <c:v>167.01367382263345</c:v>
                </c:pt>
                <c:pt idx="88" formatCode="0">
                  <c:v>167.46537250498665</c:v>
                </c:pt>
                <c:pt idx="89" formatCode="0">
                  <c:v>168.99655447906537</c:v>
                </c:pt>
                <c:pt idx="90" formatCode="0">
                  <c:v>171.86752068046289</c:v>
                </c:pt>
                <c:pt idx="91" formatCode="0">
                  <c:v>176.20842157697595</c:v>
                </c:pt>
                <c:pt idx="92" formatCode="0">
                  <c:v>179.35500053370768</c:v>
                </c:pt>
                <c:pt idx="93" formatCode="0">
                  <c:v>181.98863352912304</c:v>
                </c:pt>
                <c:pt idx="94" formatCode="0">
                  <c:v>184.72179335285352</c:v>
                </c:pt>
                <c:pt idx="95" formatCode="0">
                  <c:v>188.09039369582666</c:v>
                </c:pt>
                <c:pt idx="96" formatCode="0">
                  <c:v>191.84178953231941</c:v>
                </c:pt>
                <c:pt idx="97" formatCode="0">
                  <c:v>195.70036810699779</c:v>
                </c:pt>
                <c:pt idx="98" formatCode="0">
                  <c:v>199.39817257439776</c:v>
                </c:pt>
                <c:pt idx="99" formatCode="0">
                  <c:v>202.76677291737093</c:v>
                </c:pt>
                <c:pt idx="100" formatCode="0">
                  <c:v>206.25786781827034</c:v>
                </c:pt>
                <c:pt idx="101" formatCode="0">
                  <c:v>210.05519911398545</c:v>
                </c:pt>
                <c:pt idx="102" formatCode="0">
                  <c:v>214.11283134529401</c:v>
                </c:pt>
                <c:pt idx="103" formatCode="0">
                  <c:v>218.16280766673219</c:v>
                </c:pt>
                <c:pt idx="104" formatCode="0">
                  <c:v>222.1362248894664</c:v>
                </c:pt>
                <c:pt idx="105" formatCode="0">
                  <c:v>226.09433029245983</c:v>
                </c:pt>
                <c:pt idx="106" formatCode="0">
                  <c:v>230.13665070402752</c:v>
                </c:pt>
                <c:pt idx="107" formatCode="0">
                  <c:v>234.37036886235512</c:v>
                </c:pt>
                <c:pt idx="108" formatCode="0">
                  <c:v>238.74189339834982</c:v>
                </c:pt>
                <c:pt idx="109" formatCode="0">
                  <c:v>243.15169748369641</c:v>
                </c:pt>
                <c:pt idx="110" formatCode="0">
                  <c:v>247.56150156904309</c:v>
                </c:pt>
                <c:pt idx="111" formatCode="0">
                  <c:v>252.01724111361204</c:v>
                </c:pt>
                <c:pt idx="112" formatCode="0">
                  <c:v>256.58016339636657</c:v>
                </c:pt>
                <c:pt idx="113" formatCode="0">
                  <c:v>261.27323614691778</c:v>
                </c:pt>
                <c:pt idx="114" formatCode="0">
                  <c:v>266.0658357257841</c:v>
                </c:pt>
                <c:pt idx="115" formatCode="0">
                  <c:v>270.91202667374313</c:v>
                </c:pt>
                <c:pt idx="116" formatCode="0">
                  <c:v>275.81180899079493</c:v>
                </c:pt>
                <c:pt idx="117" formatCode="0">
                  <c:v>280.78815040655064</c:v>
                </c:pt>
                <c:pt idx="118" formatCode="0">
                  <c:v>285.87933047036233</c:v>
                </c:pt>
                <c:pt idx="119" formatCode="0">
                  <c:v>291.07769327235951</c:v>
                </c:pt>
                <c:pt idx="120" formatCode="0">
                  <c:v>296.36792699280142</c:v>
                </c:pt>
                <c:pt idx="121" formatCode="0">
                  <c:v>301.73471981194723</c:v>
                </c:pt>
                <c:pt idx="122" formatCode="0">
                  <c:v>307.18572763966733</c:v>
                </c:pt>
                <c:pt idx="123" formatCode="0">
                  <c:v>312.7362622957026</c:v>
                </c:pt>
                <c:pt idx="124" formatCode="0">
                  <c:v>318.39397968992341</c:v>
                </c:pt>
                <c:pt idx="125" formatCode="0">
                  <c:v>324.151223912459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14A-45E8-87A1-7BD2345AD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28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21613765697066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17401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28</c:f>
              <c:numCache>
                <c:formatCode>m/d/yyyy</c:formatCode>
                <c:ptCount val="227"/>
                <c:pt idx="0">
                  <c:v>44202</c:v>
                </c:pt>
                <c:pt idx="1">
                  <c:v>44203</c:v>
                </c:pt>
                <c:pt idx="2">
                  <c:v>44204</c:v>
                </c:pt>
                <c:pt idx="3">
                  <c:v>44205</c:v>
                </c:pt>
                <c:pt idx="4">
                  <c:v>44206</c:v>
                </c:pt>
                <c:pt idx="5">
                  <c:v>44207</c:v>
                </c:pt>
                <c:pt idx="6">
                  <c:v>44208</c:v>
                </c:pt>
                <c:pt idx="7">
                  <c:v>44209</c:v>
                </c:pt>
                <c:pt idx="8">
                  <c:v>44210</c:v>
                </c:pt>
                <c:pt idx="9">
                  <c:v>44211</c:v>
                </c:pt>
                <c:pt idx="10">
                  <c:v>44212</c:v>
                </c:pt>
                <c:pt idx="11">
                  <c:v>44213</c:v>
                </c:pt>
                <c:pt idx="12">
                  <c:v>44214</c:v>
                </c:pt>
                <c:pt idx="13">
                  <c:v>44215</c:v>
                </c:pt>
                <c:pt idx="14">
                  <c:v>44216</c:v>
                </c:pt>
                <c:pt idx="15">
                  <c:v>44217</c:v>
                </c:pt>
                <c:pt idx="16">
                  <c:v>44218</c:v>
                </c:pt>
                <c:pt idx="17">
                  <c:v>44219</c:v>
                </c:pt>
                <c:pt idx="18">
                  <c:v>44220</c:v>
                </c:pt>
                <c:pt idx="19">
                  <c:v>44221</c:v>
                </c:pt>
                <c:pt idx="20">
                  <c:v>44222</c:v>
                </c:pt>
                <c:pt idx="21">
                  <c:v>44223</c:v>
                </c:pt>
                <c:pt idx="22">
                  <c:v>44224</c:v>
                </c:pt>
                <c:pt idx="23">
                  <c:v>44225</c:v>
                </c:pt>
                <c:pt idx="24">
                  <c:v>44226</c:v>
                </c:pt>
                <c:pt idx="25">
                  <c:v>44227</c:v>
                </c:pt>
                <c:pt idx="26">
                  <c:v>44228</c:v>
                </c:pt>
                <c:pt idx="27">
                  <c:v>44229</c:v>
                </c:pt>
                <c:pt idx="28">
                  <c:v>44230</c:v>
                </c:pt>
                <c:pt idx="29">
                  <c:v>44231</c:v>
                </c:pt>
                <c:pt idx="30">
                  <c:v>44232</c:v>
                </c:pt>
                <c:pt idx="31">
                  <c:v>44233</c:v>
                </c:pt>
                <c:pt idx="32">
                  <c:v>44234</c:v>
                </c:pt>
                <c:pt idx="33">
                  <c:v>44235</c:v>
                </c:pt>
                <c:pt idx="34">
                  <c:v>44236</c:v>
                </c:pt>
                <c:pt idx="35">
                  <c:v>44237</c:v>
                </c:pt>
                <c:pt idx="36">
                  <c:v>44238</c:v>
                </c:pt>
                <c:pt idx="37">
                  <c:v>44239</c:v>
                </c:pt>
                <c:pt idx="38">
                  <c:v>44240</c:v>
                </c:pt>
                <c:pt idx="39">
                  <c:v>44241</c:v>
                </c:pt>
                <c:pt idx="40">
                  <c:v>44242</c:v>
                </c:pt>
                <c:pt idx="41">
                  <c:v>44243</c:v>
                </c:pt>
                <c:pt idx="42">
                  <c:v>44244</c:v>
                </c:pt>
                <c:pt idx="43">
                  <c:v>44245</c:v>
                </c:pt>
                <c:pt idx="44">
                  <c:v>44246</c:v>
                </c:pt>
                <c:pt idx="45">
                  <c:v>44247</c:v>
                </c:pt>
                <c:pt idx="46">
                  <c:v>44248</c:v>
                </c:pt>
                <c:pt idx="47">
                  <c:v>44249</c:v>
                </c:pt>
                <c:pt idx="48">
                  <c:v>44250</c:v>
                </c:pt>
                <c:pt idx="49">
                  <c:v>44251</c:v>
                </c:pt>
                <c:pt idx="50">
                  <c:v>44252</c:v>
                </c:pt>
                <c:pt idx="51">
                  <c:v>44253</c:v>
                </c:pt>
                <c:pt idx="52">
                  <c:v>44254</c:v>
                </c:pt>
                <c:pt idx="53">
                  <c:v>44255</c:v>
                </c:pt>
                <c:pt idx="54">
                  <c:v>44256</c:v>
                </c:pt>
                <c:pt idx="55">
                  <c:v>44257</c:v>
                </c:pt>
                <c:pt idx="56">
                  <c:v>44258</c:v>
                </c:pt>
                <c:pt idx="57">
                  <c:v>44259</c:v>
                </c:pt>
                <c:pt idx="58">
                  <c:v>44260</c:v>
                </c:pt>
                <c:pt idx="59">
                  <c:v>44261</c:v>
                </c:pt>
                <c:pt idx="60">
                  <c:v>44262</c:v>
                </c:pt>
                <c:pt idx="61">
                  <c:v>44263</c:v>
                </c:pt>
                <c:pt idx="62">
                  <c:v>44264</c:v>
                </c:pt>
                <c:pt idx="63">
                  <c:v>44265</c:v>
                </c:pt>
                <c:pt idx="64">
                  <c:v>44266</c:v>
                </c:pt>
                <c:pt idx="65">
                  <c:v>44267</c:v>
                </c:pt>
                <c:pt idx="66">
                  <c:v>44268</c:v>
                </c:pt>
                <c:pt idx="67">
                  <c:v>44269</c:v>
                </c:pt>
                <c:pt idx="68">
                  <c:v>44270</c:v>
                </c:pt>
                <c:pt idx="69">
                  <c:v>44271</c:v>
                </c:pt>
                <c:pt idx="70">
                  <c:v>44272</c:v>
                </c:pt>
                <c:pt idx="71">
                  <c:v>44273</c:v>
                </c:pt>
                <c:pt idx="72">
                  <c:v>44274</c:v>
                </c:pt>
                <c:pt idx="73">
                  <c:v>44275</c:v>
                </c:pt>
                <c:pt idx="74">
                  <c:v>44276</c:v>
                </c:pt>
                <c:pt idx="75">
                  <c:v>44277</c:v>
                </c:pt>
                <c:pt idx="76">
                  <c:v>44278</c:v>
                </c:pt>
                <c:pt idx="77">
                  <c:v>44279</c:v>
                </c:pt>
                <c:pt idx="78">
                  <c:v>44280</c:v>
                </c:pt>
                <c:pt idx="79">
                  <c:v>44281</c:v>
                </c:pt>
                <c:pt idx="80">
                  <c:v>44282</c:v>
                </c:pt>
                <c:pt idx="81">
                  <c:v>44283</c:v>
                </c:pt>
                <c:pt idx="82">
                  <c:v>44284</c:v>
                </c:pt>
                <c:pt idx="83">
                  <c:v>44285</c:v>
                </c:pt>
                <c:pt idx="84">
                  <c:v>44286</c:v>
                </c:pt>
                <c:pt idx="85">
                  <c:v>44287</c:v>
                </c:pt>
                <c:pt idx="86">
                  <c:v>44288</c:v>
                </c:pt>
                <c:pt idx="87">
                  <c:v>44289</c:v>
                </c:pt>
                <c:pt idx="88">
                  <c:v>44290</c:v>
                </c:pt>
                <c:pt idx="89">
                  <c:v>44291</c:v>
                </c:pt>
                <c:pt idx="90">
                  <c:v>44292</c:v>
                </c:pt>
                <c:pt idx="91">
                  <c:v>44293</c:v>
                </c:pt>
                <c:pt idx="92">
                  <c:v>44294</c:v>
                </c:pt>
                <c:pt idx="93">
                  <c:v>44295</c:v>
                </c:pt>
                <c:pt idx="94">
                  <c:v>44296</c:v>
                </c:pt>
                <c:pt idx="95">
                  <c:v>44297</c:v>
                </c:pt>
                <c:pt idx="96">
                  <c:v>44298</c:v>
                </c:pt>
                <c:pt idx="97">
                  <c:v>44299</c:v>
                </c:pt>
                <c:pt idx="98">
                  <c:v>44300</c:v>
                </c:pt>
                <c:pt idx="99">
                  <c:v>44301</c:v>
                </c:pt>
                <c:pt idx="100">
                  <c:v>44302</c:v>
                </c:pt>
                <c:pt idx="101">
                  <c:v>44303</c:v>
                </c:pt>
                <c:pt idx="102">
                  <c:v>44304</c:v>
                </c:pt>
                <c:pt idx="103">
                  <c:v>44305</c:v>
                </c:pt>
                <c:pt idx="104">
                  <c:v>44306</c:v>
                </c:pt>
                <c:pt idx="105">
                  <c:v>44307</c:v>
                </c:pt>
                <c:pt idx="106">
                  <c:v>44308</c:v>
                </c:pt>
                <c:pt idx="107">
                  <c:v>44309</c:v>
                </c:pt>
                <c:pt idx="108">
                  <c:v>44310</c:v>
                </c:pt>
                <c:pt idx="109">
                  <c:v>44311</c:v>
                </c:pt>
                <c:pt idx="110">
                  <c:v>44312</c:v>
                </c:pt>
                <c:pt idx="111">
                  <c:v>44313</c:v>
                </c:pt>
                <c:pt idx="112">
                  <c:v>44314</c:v>
                </c:pt>
                <c:pt idx="113">
                  <c:v>44315</c:v>
                </c:pt>
                <c:pt idx="114">
                  <c:v>44316</c:v>
                </c:pt>
                <c:pt idx="115">
                  <c:v>44317</c:v>
                </c:pt>
              </c:numCache>
            </c:numRef>
          </c:cat>
          <c:val>
            <c:numRef>
              <c:f>Sheet1!$B$2:$B$228</c:f>
              <c:numCache>
                <c:formatCode>General</c:formatCode>
                <c:ptCount val="227"/>
                <c:pt idx="0">
                  <c:v>17771</c:v>
                </c:pt>
                <c:pt idx="1">
                  <c:v>14882</c:v>
                </c:pt>
                <c:pt idx="2">
                  <c:v>13099</c:v>
                </c:pt>
                <c:pt idx="3">
                  <c:v>8438</c:v>
                </c:pt>
                <c:pt idx="4">
                  <c:v>4313</c:v>
                </c:pt>
                <c:pt idx="5">
                  <c:v>9386</c:v>
                </c:pt>
                <c:pt idx="6">
                  <c:v>10811</c:v>
                </c:pt>
                <c:pt idx="7">
                  <c:v>10920</c:v>
                </c:pt>
                <c:pt idx="8">
                  <c:v>8088</c:v>
                </c:pt>
                <c:pt idx="9">
                  <c:v>9301</c:v>
                </c:pt>
                <c:pt idx="10">
                  <c:v>5242</c:v>
                </c:pt>
                <c:pt idx="11">
                  <c:v>2641</c:v>
                </c:pt>
                <c:pt idx="12">
                  <c:v>7668</c:v>
                </c:pt>
                <c:pt idx="13">
                  <c:v>9610</c:v>
                </c:pt>
                <c:pt idx="14">
                  <c:v>8215</c:v>
                </c:pt>
                <c:pt idx="15">
                  <c:v>7534</c:v>
                </c:pt>
                <c:pt idx="16">
                  <c:v>8468</c:v>
                </c:pt>
                <c:pt idx="17">
                  <c:v>4239</c:v>
                </c:pt>
                <c:pt idx="18">
                  <c:v>2394</c:v>
                </c:pt>
                <c:pt idx="19">
                  <c:v>6974</c:v>
                </c:pt>
                <c:pt idx="20">
                  <c:v>9195</c:v>
                </c:pt>
                <c:pt idx="21">
                  <c:v>8504</c:v>
                </c:pt>
                <c:pt idx="22">
                  <c:v>8010</c:v>
                </c:pt>
                <c:pt idx="23">
                  <c:v>8053</c:v>
                </c:pt>
                <c:pt idx="24">
                  <c:v>4055</c:v>
                </c:pt>
                <c:pt idx="25">
                  <c:v>2573</c:v>
                </c:pt>
                <c:pt idx="26">
                  <c:v>7217</c:v>
                </c:pt>
                <c:pt idx="27">
                  <c:v>9148</c:v>
                </c:pt>
                <c:pt idx="28">
                  <c:v>9667</c:v>
                </c:pt>
                <c:pt idx="29">
                  <c:v>8107</c:v>
                </c:pt>
                <c:pt idx="30">
                  <c:v>8622</c:v>
                </c:pt>
                <c:pt idx="31">
                  <c:v>4820</c:v>
                </c:pt>
                <c:pt idx="32">
                  <c:v>2451</c:v>
                </c:pt>
                <c:pt idx="33">
                  <c:v>7777</c:v>
                </c:pt>
                <c:pt idx="34">
                  <c:v>10283</c:v>
                </c:pt>
                <c:pt idx="35">
                  <c:v>9538</c:v>
                </c:pt>
                <c:pt idx="36">
                  <c:v>9018</c:v>
                </c:pt>
                <c:pt idx="37">
                  <c:v>8830</c:v>
                </c:pt>
                <c:pt idx="38">
                  <c:v>5141</c:v>
                </c:pt>
                <c:pt idx="39">
                  <c:v>2880</c:v>
                </c:pt>
                <c:pt idx="40">
                  <c:v>8905</c:v>
                </c:pt>
                <c:pt idx="41">
                  <c:v>12608</c:v>
                </c:pt>
                <c:pt idx="42">
                  <c:v>10939</c:v>
                </c:pt>
                <c:pt idx="43">
                  <c:v>11704</c:v>
                </c:pt>
                <c:pt idx="44">
                  <c:v>11288</c:v>
                </c:pt>
                <c:pt idx="45">
                  <c:v>6775</c:v>
                </c:pt>
                <c:pt idx="46">
                  <c:v>4068</c:v>
                </c:pt>
                <c:pt idx="47">
                  <c:v>11410</c:v>
                </c:pt>
                <c:pt idx="48">
                  <c:v>15840</c:v>
                </c:pt>
                <c:pt idx="49">
                  <c:v>13796</c:v>
                </c:pt>
                <c:pt idx="50">
                  <c:v>14588</c:v>
                </c:pt>
                <c:pt idx="51">
                  <c:v>14775</c:v>
                </c:pt>
                <c:pt idx="52">
                  <c:v>7824</c:v>
                </c:pt>
                <c:pt idx="53">
                  <c:v>4587</c:v>
                </c:pt>
                <c:pt idx="54">
                  <c:v>12325</c:v>
                </c:pt>
                <c:pt idx="55">
                  <c:v>16778</c:v>
                </c:pt>
                <c:pt idx="56">
                  <c:v>15237</c:v>
                </c:pt>
                <c:pt idx="57">
                  <c:v>14648</c:v>
                </c:pt>
                <c:pt idx="58">
                  <c:v>13169</c:v>
                </c:pt>
                <c:pt idx="59">
                  <c:v>9130</c:v>
                </c:pt>
                <c:pt idx="60">
                  <c:v>3982</c:v>
                </c:pt>
                <c:pt idx="61">
                  <c:v>10653</c:v>
                </c:pt>
                <c:pt idx="62">
                  <c:v>15360</c:v>
                </c:pt>
                <c:pt idx="63">
                  <c:v>14535</c:v>
                </c:pt>
                <c:pt idx="64">
                  <c:v>11245</c:v>
                </c:pt>
                <c:pt idx="65">
                  <c:v>14960</c:v>
                </c:pt>
                <c:pt idx="66">
                  <c:v>6956</c:v>
                </c:pt>
                <c:pt idx="67">
                  <c:v>3332</c:v>
                </c:pt>
                <c:pt idx="68">
                  <c:v>10630</c:v>
                </c:pt>
                <c:pt idx="69">
                  <c:v>14028</c:v>
                </c:pt>
                <c:pt idx="70">
                  <c:v>12028</c:v>
                </c:pt>
                <c:pt idx="71">
                  <c:v>10660</c:v>
                </c:pt>
                <c:pt idx="72">
                  <c:v>9710</c:v>
                </c:pt>
                <c:pt idx="73">
                  <c:v>5466</c:v>
                </c:pt>
                <c:pt idx="74">
                  <c:v>2390</c:v>
                </c:pt>
                <c:pt idx="75">
                  <c:v>8240</c:v>
                </c:pt>
                <c:pt idx="76">
                  <c:v>10968</c:v>
                </c:pt>
                <c:pt idx="77">
                  <c:v>8847</c:v>
                </c:pt>
                <c:pt idx="78">
                  <c:v>7925</c:v>
                </c:pt>
                <c:pt idx="79">
                  <c:v>7711</c:v>
                </c:pt>
                <c:pt idx="80">
                  <c:v>3969</c:v>
                </c:pt>
                <c:pt idx="81">
                  <c:v>1744</c:v>
                </c:pt>
                <c:pt idx="82">
                  <c:v>6935</c:v>
                </c:pt>
                <c:pt idx="83">
                  <c:v>8630</c:v>
                </c:pt>
                <c:pt idx="84">
                  <c:v>7262</c:v>
                </c:pt>
                <c:pt idx="85">
                  <c:v>6245</c:v>
                </c:pt>
                <c:pt idx="86">
                  <c:v>3837</c:v>
                </c:pt>
                <c:pt idx="87">
                  <c:v>2160</c:v>
                </c:pt>
                <c:pt idx="88">
                  <c:v>1925</c:v>
                </c:pt>
                <c:pt idx="89">
                  <c:v>1419</c:v>
                </c:pt>
                <c:pt idx="90">
                  <c:v>5581</c:v>
                </c:pt>
                <c:pt idx="91">
                  <c:v>7051</c:v>
                </c:pt>
                <c:pt idx="92">
                  <c:v>5282</c:v>
                </c:pt>
                <c:pt idx="93">
                  <c:v>4819</c:v>
                </c:pt>
                <c:pt idx="94">
                  <c:v>2204</c:v>
                </c:pt>
                <c:pt idx="95">
                  <c:v>986</c:v>
                </c:pt>
                <c:pt idx="96">
                  <c:v>3868</c:v>
                </c:pt>
                <c:pt idx="97">
                  <c:v>5056</c:v>
                </c:pt>
                <c:pt idx="98">
                  <c:v>3715</c:v>
                </c:pt>
                <c:pt idx="99">
                  <c:v>3263</c:v>
                </c:pt>
                <c:pt idx="100">
                  <c:v>3215</c:v>
                </c:pt>
                <c:pt idx="101">
                  <c:v>1541</c:v>
                </c:pt>
                <c:pt idx="102">
                  <c:v>833</c:v>
                </c:pt>
                <c:pt idx="103">
                  <c:v>3340</c:v>
                </c:pt>
                <c:pt idx="104">
                  <c:v>3815</c:v>
                </c:pt>
                <c:pt idx="105">
                  <c:v>2951</c:v>
                </c:pt>
                <c:pt idx="106">
                  <c:v>2629</c:v>
                </c:pt>
                <c:pt idx="107">
                  <c:v>2601</c:v>
                </c:pt>
                <c:pt idx="108">
                  <c:v>1306</c:v>
                </c:pt>
                <c:pt idx="109">
                  <c:v>825</c:v>
                </c:pt>
                <c:pt idx="110">
                  <c:v>2579</c:v>
                </c:pt>
                <c:pt idx="111">
                  <c:v>3237</c:v>
                </c:pt>
                <c:pt idx="112">
                  <c:v>2488</c:v>
                </c:pt>
                <c:pt idx="113">
                  <c:v>2229</c:v>
                </c:pt>
                <c:pt idx="114">
                  <c:v>2169</c:v>
                </c:pt>
                <c:pt idx="115">
                  <c:v>11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7F-4BCE-A7C8-6C97C6052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28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General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4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0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5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8</c:v>
                </c:pt>
                <c:pt idx="92">
                  <c:v>15238</c:v>
                </c:pt>
                <c:pt idx="93">
                  <c:v>14648</c:v>
                </c:pt>
                <c:pt idx="94">
                  <c:v>13169</c:v>
                </c:pt>
                <c:pt idx="95">
                  <c:v>9130</c:v>
                </c:pt>
                <c:pt idx="96">
                  <c:v>3982</c:v>
                </c:pt>
                <c:pt idx="97">
                  <c:v>10653</c:v>
                </c:pt>
                <c:pt idx="98">
                  <c:v>15360</c:v>
                </c:pt>
                <c:pt idx="99">
                  <c:v>14535</c:v>
                </c:pt>
                <c:pt idx="100">
                  <c:v>11245</c:v>
                </c:pt>
                <c:pt idx="101">
                  <c:v>14960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0</c:v>
                </c:pt>
                <c:pt idx="111">
                  <c:v>8240</c:v>
                </c:pt>
                <c:pt idx="112">
                  <c:v>10968</c:v>
                </c:pt>
                <c:pt idx="113">
                  <c:v>8847</c:v>
                </c:pt>
                <c:pt idx="114">
                  <c:v>7925</c:v>
                </c:pt>
                <c:pt idx="115">
                  <c:v>7711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2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1</c:v>
                </c:pt>
                <c:pt idx="127">
                  <c:v>7051</c:v>
                </c:pt>
                <c:pt idx="128">
                  <c:v>5282</c:v>
                </c:pt>
                <c:pt idx="129">
                  <c:v>4819</c:v>
                </c:pt>
                <c:pt idx="130">
                  <c:v>2204</c:v>
                </c:pt>
                <c:pt idx="131">
                  <c:v>986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40</c:v>
                </c:pt>
                <c:pt idx="140">
                  <c:v>3815</c:v>
                </c:pt>
                <c:pt idx="141">
                  <c:v>2951</c:v>
                </c:pt>
                <c:pt idx="142">
                  <c:v>2629</c:v>
                </c:pt>
                <c:pt idx="143">
                  <c:v>2601</c:v>
                </c:pt>
                <c:pt idx="144">
                  <c:v>1306</c:v>
                </c:pt>
                <c:pt idx="145">
                  <c:v>825</c:v>
                </c:pt>
                <c:pt idx="146">
                  <c:v>2579</c:v>
                </c:pt>
                <c:pt idx="147">
                  <c:v>3237</c:v>
                </c:pt>
                <c:pt idx="148">
                  <c:v>2488</c:v>
                </c:pt>
                <c:pt idx="149">
                  <c:v>2228</c:v>
                </c:pt>
                <c:pt idx="150">
                  <c:v>2168</c:v>
                </c:pt>
                <c:pt idx="151">
                  <c:v>1171</c:v>
                </c:pt>
                <c:pt idx="152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0,9</c:v>
                </c:pt>
              </c:strCache>
            </c:strRef>
          </c:tx>
          <c:spPr>
            <a:ln w="28575" cap="rnd">
              <a:solidFill>
                <a:srgbClr val="30598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E$93:$E$274</c:f>
              <c:numCache>
                <c:formatCode>General</c:formatCode>
                <c:ptCount val="182"/>
                <c:pt idx="88">
                  <c:v>13703.864506279357</c:v>
                </c:pt>
                <c:pt idx="89">
                  <c:v>13947.740085885691</c:v>
                </c:pt>
                <c:pt idx="90">
                  <c:v>14149.224572367377</c:v>
                </c:pt>
                <c:pt idx="91">
                  <c:v>14326.576891725252</c:v>
                </c:pt>
                <c:pt idx="92">
                  <c:v>14488.179540408461</c:v>
                </c:pt>
                <c:pt idx="93">
                  <c:v>14637.899366013678</c:v>
                </c:pt>
                <c:pt idx="94">
                  <c:v>14777.570225779313</c:v>
                </c:pt>
                <c:pt idx="95">
                  <c:v>14908.125523135202</c:v>
                </c:pt>
                <c:pt idx="96">
                  <c:v>15030.10431287298</c:v>
                </c:pt>
                <c:pt idx="97">
                  <c:v>15143.871212440938</c:v>
                </c:pt>
                <c:pt idx="98">
                  <c:v>15249.708435749646</c:v>
                </c:pt>
                <c:pt idx="99">
                  <c:v>15347.852537893776</c:v>
                </c:pt>
                <c:pt idx="100">
                  <c:v>15438.5084430508</c:v>
                </c:pt>
                <c:pt idx="101">
                  <c:v>15521.854901498873</c:v>
                </c:pt>
                <c:pt idx="102">
                  <c:v>15598.047204516557</c:v>
                </c:pt>
                <c:pt idx="103">
                  <c:v>15667.219343999815</c:v>
                </c:pt>
                <c:pt idx="104">
                  <c:v>15729.486285115383</c:v>
                </c:pt>
                <c:pt idx="105">
                  <c:v>15784.946440134854</c:v>
                </c:pt>
                <c:pt idx="106">
                  <c:v>15833.684248299791</c:v>
                </c:pt>
                <c:pt idx="107">
                  <c:v>15875.772738733451</c:v>
                </c:pt>
                <c:pt idx="108">
                  <c:v>15911.275977467594</c:v>
                </c:pt>
                <c:pt idx="109">
                  <c:v>15940.25133399808</c:v>
                </c:pt>
                <c:pt idx="110">
                  <c:v>15962.751532762984</c:v>
                </c:pt>
                <c:pt idx="111">
                  <c:v>15978.826476964043</c:v>
                </c:pt>
                <c:pt idx="112">
                  <c:v>15988.524846726856</c:v>
                </c:pt>
                <c:pt idx="113">
                  <c:v>15991.895482380527</c:v>
                </c:pt>
                <c:pt idx="114">
                  <c:v>15988.988568335462</c:v>
                </c:pt>
                <c:pt idx="115">
                  <c:v>15979.856635033955</c:v>
                </c:pt>
                <c:pt idx="116">
                  <c:v>15964.555396758153</c:v>
                </c:pt>
                <c:pt idx="117">
                  <c:v>15943.144442406874</c:v>
                </c:pt>
                <c:pt idx="118">
                  <c:v>15915.687795159907</c:v>
                </c:pt>
                <c:pt idx="119">
                  <c:v>15882.254355530424</c:v>
                </c:pt>
                <c:pt idx="120">
                  <c:v>15842.918240841871</c:v>
                </c:pt>
                <c:pt idx="121">
                  <c:v>15797.759032757598</c:v>
                </c:pt>
                <c:pt idx="122">
                  <c:v>15746.861943193822</c:v>
                </c:pt>
                <c:pt idx="123">
                  <c:v>15690.317907782257</c:v>
                </c:pt>
                <c:pt idx="124">
                  <c:v>15628.22361502286</c:v>
                </c:pt>
                <c:pt idx="125">
                  <c:v>15560.681478374674</c:v>
                </c:pt>
                <c:pt idx="126">
                  <c:v>15487.799557761642</c:v>
                </c:pt>
                <c:pt idx="127">
                  <c:v>15409.691436308502</c:v>
                </c:pt>
                <c:pt idx="128">
                  <c:v>15326.476057554019</c:v>
                </c:pt>
                <c:pt idx="129">
                  <c:v>15238.277527902354</c:v>
                </c:pt>
                <c:pt idx="130">
                  <c:v>15145.22488865537</c:v>
                </c:pt>
                <c:pt idx="131">
                  <c:v>15047.451861607735</c:v>
                </c:pt>
                <c:pt idx="132">
                  <c:v>14945.096571873641</c:v>
                </c:pt>
                <c:pt idx="133">
                  <c:v>14838.301251339421</c:v>
                </c:pt>
                <c:pt idx="134">
                  <c:v>14727.211925893771</c:v>
                </c:pt>
                <c:pt idx="135">
                  <c:v>14611.978089370503</c:v>
                </c:pt>
                <c:pt idx="136">
                  <c:v>14492.752366941924</c:v>
                </c:pt>
                <c:pt idx="137">
                  <c:v>14369.690170521166</c:v>
                </c:pt>
                <c:pt idx="138">
                  <c:v>14242.949348564311</c:v>
                </c:pt>
                <c:pt idx="139">
                  <c:v>14112.689832506207</c:v>
                </c:pt>
                <c:pt idx="140">
                  <c:v>13979.073281914618</c:v>
                </c:pt>
                <c:pt idx="141">
                  <c:v>13842.262730304588</c:v>
                </c:pt>
                <c:pt idx="142">
                  <c:v>13702.422233416957</c:v>
                </c:pt>
                <c:pt idx="143">
                  <c:v>13559.716521630915</c:v>
                </c:pt>
                <c:pt idx="144">
                  <c:v>13414.310658050177</c:v>
                </c:pt>
                <c:pt idx="145">
                  <c:v>13266.369703674438</c:v>
                </c:pt>
                <c:pt idx="146">
                  <c:v>13116.058390943021</c:v>
                </c:pt>
                <c:pt idx="147">
                  <c:v>12963.540806815072</c:v>
                </c:pt>
                <c:pt idx="148">
                  <c:v>12808.980086430933</c:v>
                </c:pt>
                <c:pt idx="149">
                  <c:v>12652.53811828232</c:v>
                </c:pt>
                <c:pt idx="150">
                  <c:v>12494.375261704727</c:v>
                </c:pt>
                <c:pt idx="151" formatCode="#,##0">
                  <c:v>12334.650077394488</c:v>
                </c:pt>
                <c:pt idx="152" formatCode="#,##0">
                  <c:v>12173.519071545517</c:v>
                </c:pt>
                <c:pt idx="153" formatCode="#,##0">
                  <c:v>12011.136454096581</c:v>
                </c:pt>
                <c:pt idx="154" formatCode="#,##0">
                  <c:v>11847.653911480365</c:v>
                </c:pt>
                <c:pt idx="155" formatCode="#,##0">
                  <c:v>11683.220394169555</c:v>
                </c:pt>
                <c:pt idx="156" formatCode="#,##0">
                  <c:v>11517.981919224159</c:v>
                </c:pt>
                <c:pt idx="157" formatCode="#,##0">
                  <c:v>11352.08138795762</c:v>
                </c:pt>
                <c:pt idx="158" formatCode="#,##0">
                  <c:v>11185.658418757575</c:v>
                </c:pt>
                <c:pt idx="159" formatCode="#,##0">
                  <c:v>11018.849195020563</c:v>
                </c:pt>
                <c:pt idx="160" formatCode="#,##0">
                  <c:v>10851.78632808833</c:v>
                </c:pt>
                <c:pt idx="161" formatCode="#,##0">
                  <c:v>10684.598735007381</c:v>
                </c:pt>
                <c:pt idx="162" formatCode="#,##0">
                  <c:v>10517.41153087225</c:v>
                </c:pt>
                <c:pt idx="163" formatCode="#,##0">
                  <c:v>10350.34593545749</c:v>
                </c:pt>
                <c:pt idx="164" formatCode="#,##0">
                  <c:v>10183.519193792981</c:v>
                </c:pt>
                <c:pt idx="165" formatCode="#,##0">
                  <c:v>10017.044510292133</c:v>
                </c:pt>
                <c:pt idx="166" formatCode="#,##0">
                  <c:v>9851.0309960025079</c:v>
                </c:pt>
                <c:pt idx="167" formatCode="#,##0">
                  <c:v>9685.5836285136211</c:v>
                </c:pt>
                <c:pt idx="168" formatCode="#,##0">
                  <c:v>9520.8032240265748</c:v>
                </c:pt>
                <c:pt idx="169" formatCode="#,##0">
                  <c:v>9356.7864210649568</c:v>
                </c:pt>
                <c:pt idx="170" formatCode="#,##0">
                  <c:v>9193.6256752857098</c:v>
                </c:pt>
                <c:pt idx="171" formatCode="#,##0">
                  <c:v>9031.4092648322239</c:v>
                </c:pt>
                <c:pt idx="172" formatCode="#,##0">
                  <c:v>8870.2213056597575</c:v>
                </c:pt>
                <c:pt idx="173" formatCode="#,##0">
                  <c:v>8710.1417762547771</c:v>
                </c:pt>
                <c:pt idx="174" formatCode="#,##0">
                  <c:v>8551.2465511651244</c:v>
                </c:pt>
                <c:pt idx="175" formatCode="#,##0">
                  <c:v>8393.6074427566346</c:v>
                </c:pt>
                <c:pt idx="176" formatCode="#,##0">
                  <c:v>8237.2922506135019</c:v>
                </c:pt>
                <c:pt idx="177" formatCode="#,##0">
                  <c:v>8082.3648180044675</c:v>
                </c:pt>
                <c:pt idx="178" formatCode="#,##0">
                  <c:v>7928.885094844276</c:v>
                </c:pt>
                <c:pt idx="179" formatCode="#,##0">
                  <c:v>7776.9092065893965</c:v>
                </c:pt>
                <c:pt idx="180" formatCode="#,##0">
                  <c:v>7626.4895285190469</c:v>
                </c:pt>
                <c:pt idx="181" formatCode="#,##0">
                  <c:v>7477.6747648661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D6-49D4-BBCA-40283A14DEDD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B$93:$B$274</c:f>
              <c:numCache>
                <c:formatCode>General</c:formatCode>
                <c:ptCount val="182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4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3</c:v>
                </c:pt>
                <c:pt idx="27">
                  <c:v>10937</c:v>
                </c:pt>
                <c:pt idx="28">
                  <c:v>16476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4</c:v>
                </c:pt>
                <c:pt idx="33">
                  <c:v>6268</c:v>
                </c:pt>
                <c:pt idx="34">
                  <c:v>12956</c:v>
                </c:pt>
                <c:pt idx="35">
                  <c:v>17401</c:v>
                </c:pt>
                <c:pt idx="36">
                  <c:v>17771</c:v>
                </c:pt>
                <c:pt idx="37">
                  <c:v>14882</c:v>
                </c:pt>
                <c:pt idx="38">
                  <c:v>13099</c:v>
                </c:pt>
                <c:pt idx="39">
                  <c:v>8438</c:v>
                </c:pt>
                <c:pt idx="40">
                  <c:v>4313</c:v>
                </c:pt>
                <c:pt idx="41">
                  <c:v>9386</c:v>
                </c:pt>
                <c:pt idx="42">
                  <c:v>10811</c:v>
                </c:pt>
                <c:pt idx="43">
                  <c:v>10920</c:v>
                </c:pt>
                <c:pt idx="44">
                  <c:v>8088</c:v>
                </c:pt>
                <c:pt idx="45">
                  <c:v>9301</c:v>
                </c:pt>
                <c:pt idx="46">
                  <c:v>5242</c:v>
                </c:pt>
                <c:pt idx="47">
                  <c:v>2641</c:v>
                </c:pt>
                <c:pt idx="48">
                  <c:v>7668</c:v>
                </c:pt>
                <c:pt idx="49">
                  <c:v>9610</c:v>
                </c:pt>
                <c:pt idx="50">
                  <c:v>8215</c:v>
                </c:pt>
                <c:pt idx="51">
                  <c:v>7534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4</c:v>
                </c:pt>
                <c:pt idx="58">
                  <c:v>8010</c:v>
                </c:pt>
                <c:pt idx="59">
                  <c:v>8053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7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7</c:v>
                </c:pt>
                <c:pt idx="70">
                  <c:v>10283</c:v>
                </c:pt>
                <c:pt idx="71">
                  <c:v>9538</c:v>
                </c:pt>
                <c:pt idx="72">
                  <c:v>9018</c:v>
                </c:pt>
                <c:pt idx="73">
                  <c:v>8830</c:v>
                </c:pt>
                <c:pt idx="74">
                  <c:v>5141</c:v>
                </c:pt>
                <c:pt idx="75">
                  <c:v>2880</c:v>
                </c:pt>
                <c:pt idx="76">
                  <c:v>8905</c:v>
                </c:pt>
                <c:pt idx="77">
                  <c:v>12608</c:v>
                </c:pt>
                <c:pt idx="78">
                  <c:v>10939</c:v>
                </c:pt>
                <c:pt idx="79">
                  <c:v>11704</c:v>
                </c:pt>
                <c:pt idx="80">
                  <c:v>11288</c:v>
                </c:pt>
                <c:pt idx="81">
                  <c:v>6775</c:v>
                </c:pt>
                <c:pt idx="82">
                  <c:v>4068</c:v>
                </c:pt>
                <c:pt idx="83">
                  <c:v>11410</c:v>
                </c:pt>
                <c:pt idx="84">
                  <c:v>15840</c:v>
                </c:pt>
                <c:pt idx="85">
                  <c:v>13796</c:v>
                </c:pt>
                <c:pt idx="86">
                  <c:v>14588</c:v>
                </c:pt>
                <c:pt idx="87">
                  <c:v>14775</c:v>
                </c:pt>
                <c:pt idx="88">
                  <c:v>7824</c:v>
                </c:pt>
                <c:pt idx="89">
                  <c:v>4587</c:v>
                </c:pt>
                <c:pt idx="90">
                  <c:v>12325</c:v>
                </c:pt>
                <c:pt idx="91">
                  <c:v>16778</c:v>
                </c:pt>
                <c:pt idx="92">
                  <c:v>15238</c:v>
                </c:pt>
                <c:pt idx="93">
                  <c:v>14648</c:v>
                </c:pt>
                <c:pt idx="94">
                  <c:v>13169</c:v>
                </c:pt>
                <c:pt idx="95">
                  <c:v>9130</c:v>
                </c:pt>
                <c:pt idx="96">
                  <c:v>3982</c:v>
                </c:pt>
                <c:pt idx="97">
                  <c:v>10653</c:v>
                </c:pt>
                <c:pt idx="98">
                  <c:v>15360</c:v>
                </c:pt>
                <c:pt idx="99">
                  <c:v>14535</c:v>
                </c:pt>
                <c:pt idx="100">
                  <c:v>11245</c:v>
                </c:pt>
                <c:pt idx="101">
                  <c:v>14960</c:v>
                </c:pt>
                <c:pt idx="102">
                  <c:v>6956</c:v>
                </c:pt>
                <c:pt idx="103">
                  <c:v>3332</c:v>
                </c:pt>
                <c:pt idx="104">
                  <c:v>10630</c:v>
                </c:pt>
                <c:pt idx="105">
                  <c:v>14028</c:v>
                </c:pt>
                <c:pt idx="106">
                  <c:v>12028</c:v>
                </c:pt>
                <c:pt idx="107">
                  <c:v>10660</c:v>
                </c:pt>
                <c:pt idx="108">
                  <c:v>9710</c:v>
                </c:pt>
                <c:pt idx="109">
                  <c:v>5466</c:v>
                </c:pt>
                <c:pt idx="110">
                  <c:v>2390</c:v>
                </c:pt>
                <c:pt idx="111">
                  <c:v>8240</c:v>
                </c:pt>
                <c:pt idx="112">
                  <c:v>10968</c:v>
                </c:pt>
                <c:pt idx="113">
                  <c:v>8847</c:v>
                </c:pt>
                <c:pt idx="114">
                  <c:v>7925</c:v>
                </c:pt>
                <c:pt idx="115">
                  <c:v>7711</c:v>
                </c:pt>
                <c:pt idx="116">
                  <c:v>3969</c:v>
                </c:pt>
                <c:pt idx="117">
                  <c:v>1744</c:v>
                </c:pt>
                <c:pt idx="118">
                  <c:v>6935</c:v>
                </c:pt>
                <c:pt idx="119">
                  <c:v>8630</c:v>
                </c:pt>
                <c:pt idx="120">
                  <c:v>7262</c:v>
                </c:pt>
                <c:pt idx="121">
                  <c:v>6245</c:v>
                </c:pt>
                <c:pt idx="122">
                  <c:v>3837</c:v>
                </c:pt>
                <c:pt idx="123">
                  <c:v>2160</c:v>
                </c:pt>
                <c:pt idx="124">
                  <c:v>1925</c:v>
                </c:pt>
                <c:pt idx="125">
                  <c:v>1419</c:v>
                </c:pt>
                <c:pt idx="126">
                  <c:v>5581</c:v>
                </c:pt>
                <c:pt idx="127">
                  <c:v>7051</c:v>
                </c:pt>
                <c:pt idx="128">
                  <c:v>5282</c:v>
                </c:pt>
                <c:pt idx="129">
                  <c:v>4819</c:v>
                </c:pt>
                <c:pt idx="130">
                  <c:v>2204</c:v>
                </c:pt>
                <c:pt idx="131">
                  <c:v>986</c:v>
                </c:pt>
                <c:pt idx="132">
                  <c:v>3868</c:v>
                </c:pt>
                <c:pt idx="133">
                  <c:v>5056</c:v>
                </c:pt>
                <c:pt idx="134">
                  <c:v>3715</c:v>
                </c:pt>
                <c:pt idx="135">
                  <c:v>3263</c:v>
                </c:pt>
                <c:pt idx="136">
                  <c:v>3215</c:v>
                </c:pt>
                <c:pt idx="137">
                  <c:v>1541</c:v>
                </c:pt>
                <c:pt idx="138">
                  <c:v>833</c:v>
                </c:pt>
                <c:pt idx="139">
                  <c:v>3340</c:v>
                </c:pt>
                <c:pt idx="140">
                  <c:v>3815</c:v>
                </c:pt>
                <c:pt idx="141">
                  <c:v>2951</c:v>
                </c:pt>
                <c:pt idx="142">
                  <c:v>2629</c:v>
                </c:pt>
                <c:pt idx="143">
                  <c:v>2601</c:v>
                </c:pt>
                <c:pt idx="144">
                  <c:v>1306</c:v>
                </c:pt>
                <c:pt idx="145">
                  <c:v>825</c:v>
                </c:pt>
                <c:pt idx="146">
                  <c:v>2579</c:v>
                </c:pt>
                <c:pt idx="147">
                  <c:v>3237</c:v>
                </c:pt>
                <c:pt idx="148">
                  <c:v>2488</c:v>
                </c:pt>
                <c:pt idx="149">
                  <c:v>2228</c:v>
                </c:pt>
                <c:pt idx="150">
                  <c:v>2168</c:v>
                </c:pt>
                <c:pt idx="151">
                  <c:v>1171</c:v>
                </c:pt>
                <c:pt idx="152">
                  <c:v>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D6-49D4-BBCA-40283A1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C$93:$C$274</c:f>
              <c:numCache>
                <c:formatCode>General</c:formatCode>
                <c:ptCount val="182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D6-49D4-BBCA-40283A14DEDD}"/>
            </c:ext>
          </c:extLst>
        </c:ser>
        <c:ser>
          <c:idx val="4"/>
          <c:order val="2"/>
          <c:tx>
            <c:strRef>
              <c:f>Sheet1!$F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00CD6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93:$A$274</c:f>
              <c:numCache>
                <c:formatCode>m/d/yyyy</c:formatCode>
                <c:ptCount val="182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  <c:pt idx="151">
                  <c:v>44317</c:v>
                </c:pt>
                <c:pt idx="152">
                  <c:v>44318</c:v>
                </c:pt>
                <c:pt idx="153">
                  <c:v>44319</c:v>
                </c:pt>
                <c:pt idx="154">
                  <c:v>44320</c:v>
                </c:pt>
                <c:pt idx="155">
                  <c:v>44321</c:v>
                </c:pt>
                <c:pt idx="156">
                  <c:v>44322</c:v>
                </c:pt>
                <c:pt idx="157">
                  <c:v>44323</c:v>
                </c:pt>
                <c:pt idx="158">
                  <c:v>44324</c:v>
                </c:pt>
                <c:pt idx="159">
                  <c:v>44325</c:v>
                </c:pt>
                <c:pt idx="160">
                  <c:v>44326</c:v>
                </c:pt>
                <c:pt idx="161">
                  <c:v>44327</c:v>
                </c:pt>
                <c:pt idx="162">
                  <c:v>44328</c:v>
                </c:pt>
                <c:pt idx="163">
                  <c:v>44329</c:v>
                </c:pt>
                <c:pt idx="164">
                  <c:v>44330</c:v>
                </c:pt>
                <c:pt idx="165">
                  <c:v>44331</c:v>
                </c:pt>
                <c:pt idx="166">
                  <c:v>44332</c:v>
                </c:pt>
                <c:pt idx="167">
                  <c:v>44333</c:v>
                </c:pt>
                <c:pt idx="168">
                  <c:v>44334</c:v>
                </c:pt>
                <c:pt idx="169">
                  <c:v>44335</c:v>
                </c:pt>
                <c:pt idx="170">
                  <c:v>44336</c:v>
                </c:pt>
                <c:pt idx="171">
                  <c:v>44337</c:v>
                </c:pt>
                <c:pt idx="172">
                  <c:v>44338</c:v>
                </c:pt>
                <c:pt idx="173">
                  <c:v>44339</c:v>
                </c:pt>
                <c:pt idx="174">
                  <c:v>44340</c:v>
                </c:pt>
                <c:pt idx="175">
                  <c:v>44341</c:v>
                </c:pt>
                <c:pt idx="176">
                  <c:v>44342</c:v>
                </c:pt>
                <c:pt idx="177">
                  <c:v>44343</c:v>
                </c:pt>
                <c:pt idx="178">
                  <c:v>44344</c:v>
                </c:pt>
                <c:pt idx="179">
                  <c:v>44345</c:v>
                </c:pt>
                <c:pt idx="180">
                  <c:v>44346</c:v>
                </c:pt>
                <c:pt idx="181">
                  <c:v>44347</c:v>
                </c:pt>
              </c:numCache>
            </c:numRef>
          </c:cat>
          <c:val>
            <c:numRef>
              <c:f>Sheet1!$F$93:$F$274</c:f>
              <c:numCache>
                <c:formatCode>General</c:formatCode>
                <c:ptCount val="182"/>
                <c:pt idx="88">
                  <c:v>13565.398587364976</c:v>
                </c:pt>
                <c:pt idx="89">
                  <c:v>13597.620772138698</c:v>
                </c:pt>
                <c:pt idx="90">
                  <c:v>13548.918318527833</c:v>
                </c:pt>
                <c:pt idx="91">
                  <c:v>13455.939457546039</c:v>
                </c:pt>
                <c:pt idx="92">
                  <c:v>13336.901120744071</c:v>
                </c:pt>
                <c:pt idx="93">
                  <c:v>13201.041345989797</c:v>
                </c:pt>
                <c:pt idx="94">
                  <c:v>13053.250245753177</c:v>
                </c:pt>
                <c:pt idx="95">
                  <c:v>12896.318961767711</c:v>
                </c:pt>
                <c:pt idx="96">
                  <c:v>12732.020108445684</c:v>
                </c:pt>
                <c:pt idx="97">
                  <c:v>12561.620250351514</c:v>
                </c:pt>
                <c:pt idx="98">
                  <c:v>12386.119621972726</c:v>
                </c:pt>
                <c:pt idx="99">
                  <c:v>12206.362920696471</c:v>
                </c:pt>
                <c:pt idx="100">
                  <c:v>12023.090421835983</c:v>
                </c:pt>
                <c:pt idx="101">
                  <c:v>11836.962221911288</c:v>
                </c:pt>
                <c:pt idx="102">
                  <c:v>11648.570807348526</c:v>
                </c:pt>
                <c:pt idx="103">
                  <c:v>11458.448766482525</c:v>
                </c:pt>
                <c:pt idx="104">
                  <c:v>11267.074560520114</c:v>
                </c:pt>
                <c:pt idx="105">
                  <c:v>11074.877508179043</c:v>
                </c:pt>
                <c:pt idx="106">
                  <c:v>10882.242381785769</c:v>
                </c:pt>
                <c:pt idx="107">
                  <c:v>10689.513712989812</c:v>
                </c:pt>
                <c:pt idx="108">
                  <c:v>10496.999805791134</c:v>
                </c:pt>
                <c:pt idx="109">
                  <c:v>10304.976434519584</c:v>
                </c:pt>
                <c:pt idx="110">
                  <c:v>10113.69021224228</c:v>
                </c:pt>
                <c:pt idx="111">
                  <c:v>9923.361629071529</c:v>
                </c:pt>
                <c:pt idx="112">
                  <c:v>9734.1877720736393</c:v>
                </c:pt>
                <c:pt idx="113">
                  <c:v>9546.3447468654849</c:v>
                </c:pt>
                <c:pt idx="114">
                  <c:v>9359.989825699653</c:v>
                </c:pt>
                <c:pt idx="115">
                  <c:v>9175.2633487234507</c:v>
                </c:pt>
                <c:pt idx="116">
                  <c:v>8992.2904050442994</c:v>
                </c:pt>
                <c:pt idx="117">
                  <c:v>8811.1823189776806</c:v>
                </c:pt>
                <c:pt idx="118">
                  <c:v>8632.0379649301503</c:v>
                </c:pt>
                <c:pt idx="119">
                  <c:v>8454.9449321447137</c:v>
                </c:pt>
                <c:pt idx="120">
                  <c:v>8279.9805582433582</c:v>
                </c:pt>
                <c:pt idx="121">
                  <c:v>8107.2128482826047</c:v>
                </c:pt>
                <c:pt idx="122">
                  <c:v>7936.701293970641</c:v>
                </c:pt>
                <c:pt idx="123">
                  <c:v>7768.4976058159664</c:v>
                </c:pt>
                <c:pt idx="124">
                  <c:v>7602.6463692990101</c:v>
                </c:pt>
                <c:pt idx="125">
                  <c:v>7439.1856346759896</c:v>
                </c:pt>
                <c:pt idx="126">
                  <c:v>7278.1474487267014</c:v>
                </c:pt>
                <c:pt idx="127">
                  <c:v>7119.5583356283587</c:v>
                </c:pt>
                <c:pt idx="128">
                  <c:v>6963.4397331588161</c:v>
                </c:pt>
                <c:pt idx="129">
                  <c:v>6809.8083895867212</c:v>
                </c:pt>
                <c:pt idx="130">
                  <c:v>6658.6767258768996</c:v>
                </c:pt>
                <c:pt idx="131">
                  <c:v>6510.0531672116349</c:v>
                </c:pt>
                <c:pt idx="132">
                  <c:v>6363.942447288402</c:v>
                </c:pt>
                <c:pt idx="133">
                  <c:v>6220.3458883906142</c:v>
                </c:pt>
                <c:pt idx="134">
                  <c:v>6079.2616598290442</c:v>
                </c:pt>
                <c:pt idx="135">
                  <c:v>5940.6850170089601</c:v>
                </c:pt>
                <c:pt idx="136">
                  <c:v>5804.6085230835033</c:v>
                </c:pt>
                <c:pt idx="137">
                  <c:v>5671.0222549007694</c:v>
                </c:pt>
                <c:pt idx="138">
                  <c:v>5539.9139947345457</c:v>
                </c:pt>
                <c:pt idx="139">
                  <c:v>5411.2694091014473</c:v>
                </c:pt>
                <c:pt idx="140">
                  <c:v>5285.072215806259</c:v>
                </c:pt>
                <c:pt idx="141">
                  <c:v>5161.3043402186613</c:v>
                </c:pt>
                <c:pt idx="142">
                  <c:v>5039.9460616651231</c:v>
                </c:pt>
                <c:pt idx="143">
                  <c:v>4920.9761507168096</c:v>
                </c:pt>
                <c:pt idx="144">
                  <c:v>4804.3719980655906</c:v>
                </c:pt>
                <c:pt idx="145">
                  <c:v>4690.1097356035389</c:v>
                </c:pt>
                <c:pt idx="146">
                  <c:v>4578.1643502550887</c:v>
                </c:pt>
                <c:pt idx="147">
                  <c:v>4468.5097910536624</c:v>
                </c:pt>
                <c:pt idx="148">
                  <c:v>4361.1190699049157</c:v>
                </c:pt>
                <c:pt idx="149">
                  <c:v>4255.9643564357075</c:v>
                </c:pt>
                <c:pt idx="150">
                  <c:v>4153.017067290396</c:v>
                </c:pt>
                <c:pt idx="151" formatCode="#,##0">
                  <c:v>4052.2479502035376</c:v>
                </c:pt>
                <c:pt idx="152" formatCode="#,##0">
                  <c:v>3953.6271631495847</c:v>
                </c:pt>
                <c:pt idx="153" formatCode="#,##0">
                  <c:v>3857.1243488453674</c:v>
                </c:pt>
                <c:pt idx="154" formatCode="#,##0">
                  <c:v>3762.7087048593494</c:v>
                </c:pt>
                <c:pt idx="155" formatCode="#,##0">
                  <c:v>3670.3490495624683</c:v>
                </c:pt>
                <c:pt idx="156" formatCode="#,##0">
                  <c:v>3580.0138841385356</c:v>
                </c:pt>
                <c:pt idx="157" formatCode="#,##0">
                  <c:v>3491.6714508571886</c:v>
                </c:pt>
                <c:pt idx="158" formatCode="#,##0">
                  <c:v>3405.2897877991431</c:v>
                </c:pt>
                <c:pt idx="159" formatCode="#,##0">
                  <c:v>3320.8367802116381</c:v>
                </c:pt>
                <c:pt idx="160" formatCode="#,##0">
                  <c:v>3238.2802086613838</c:v>
                </c:pt>
                <c:pt idx="161" formatCode="#,##0">
                  <c:v>3157.5877941427698</c:v>
                </c:pt>
                <c:pt idx="162" formatCode="#,##0">
                  <c:v>3078.7272402904882</c:v>
                </c:pt>
                <c:pt idx="163" formatCode="#,##0">
                  <c:v>3001.6662728378628</c:v>
                </c:pt>
                <c:pt idx="164" formatCode="#,##0">
                  <c:v>2926.3726764550584</c:v>
                </c:pt>
                <c:pt idx="165" formatCode="#,##0">
                  <c:v>2852.8143290947587</c:v>
                </c:pt>
                <c:pt idx="166" formatCode="#,##0">
                  <c:v>2780.9592339668447</c:v>
                </c:pt>
                <c:pt idx="167" formatCode="#,##0">
                  <c:v>2710.7755492580272</c:v>
                </c:pt>
                <c:pt idx="168" formatCode="#,##0">
                  <c:v>2642.2316157071173</c:v>
                </c:pt>
                <c:pt idx="169" formatCode="#,##0">
                  <c:v>2575.2959821417821</c:v>
                </c:pt>
                <c:pt idx="170" formatCode="#,##0">
                  <c:v>2509.9374290780111</c:v>
                </c:pt>
                <c:pt idx="171" formatCode="#,##0">
                  <c:v>2446.1249904791971</c:v>
                </c:pt>
                <c:pt idx="172" formatCode="#,##0">
                  <c:v>2383.8279737676639</c:v>
                </c:pt>
                <c:pt idx="173" formatCode="#,##0">
                  <c:v>2323.0159781775351</c:v>
                </c:pt>
                <c:pt idx="174" formatCode="#,##0">
                  <c:v>2263.6589115341962</c:v>
                </c:pt>
                <c:pt idx="175" formatCode="#,##0">
                  <c:v>2205.7270055419972</c:v>
                </c:pt>
                <c:pt idx="176" formatCode="#,##0">
                  <c:v>2149.190829658527</c:v>
                </c:pt>
                <c:pt idx="177" formatCode="#,##0">
                  <c:v>2094.0213036304749</c:v>
                </c:pt>
                <c:pt idx="178" formatCode="#,##0">
                  <c:v>2040.1897087630277</c:v>
                </c:pt>
                <c:pt idx="179" formatCode="#,##0">
                  <c:v>1987.667697991727</c:v>
                </c:pt>
                <c:pt idx="180" formatCode="#,##0">
                  <c:v>1936.4273048228154</c:v>
                </c:pt>
                <c:pt idx="181" formatCode="#,##0">
                  <c:v>1886.440951205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7D6-49D4-BBCA-40283A14DEDD}"/>
            </c:ext>
          </c:extLst>
        </c:ser>
        <c:ser>
          <c:idx val="2"/>
          <c:order val="3"/>
          <c:tx>
            <c:v>V3</c:v>
          </c:tx>
          <c:spPr>
            <a:ln w="28575" cap="rnd">
              <a:solidFill>
                <a:srgbClr val="FF6600"/>
              </a:solidFill>
              <a:prstDash val="sysDash"/>
              <a:round/>
            </a:ln>
            <a:effectLst/>
          </c:spPr>
          <c:marker>
            <c:symbol val="none"/>
          </c:marker>
          <c:val>
            <c:numRef>
              <c:f>Sheet1!$G$93:$G$274</c:f>
              <c:numCache>
                <c:formatCode>General</c:formatCode>
                <c:ptCount val="182"/>
                <c:pt idx="88" formatCode="#,##0">
                  <c:v>12384.255429978144</c:v>
                </c:pt>
                <c:pt idx="89" formatCode="#,##0">
                  <c:v>12381.738495540094</c:v>
                </c:pt>
                <c:pt idx="90" formatCode="#,##0">
                  <c:v>12305.469843726962</c:v>
                </c:pt>
                <c:pt idx="91" formatCode="#,##0">
                  <c:v>12188.82353865699</c:v>
                </c:pt>
                <c:pt idx="92" formatCode="#,##0">
                  <c:v>12048.336460701657</c:v>
                </c:pt>
                <c:pt idx="93" formatCode="#,##0">
                  <c:v>11892.419536044787</c:v>
                </c:pt>
                <c:pt idx="94" formatCode="#,##0">
                  <c:v>11725.337532383628</c:v>
                </c:pt>
                <c:pt idx="95" formatCode="#,##0">
                  <c:v>11549.732364132808</c:v>
                </c:pt>
                <c:pt idx="96" formatCode="#,##0">
                  <c:v>11368.184119566578</c:v>
                </c:pt>
                <c:pt idx="97" formatCode="#,##0">
                  <c:v>11182.388903323426</c:v>
                </c:pt>
                <c:pt idx="98" formatCode="#,##0">
                  <c:v>10992.446750536743</c:v>
                </c:pt>
                <c:pt idx="99" formatCode="#,##0">
                  <c:v>10798.254563455468</c:v>
                </c:pt>
                <c:pt idx="100" formatCode="#,##0">
                  <c:v>10599.929503923397</c:v>
                </c:pt>
                <c:pt idx="101" formatCode="#,##0">
                  <c:v>10397.78209807549</c:v>
                </c:pt>
                <c:pt idx="102" formatCode="#,##0">
                  <c:v>10192.570969851162</c:v>
                </c:pt>
                <c:pt idx="103" formatCode="#,##0">
                  <c:v>9985.9146241609851</c:v>
                </c:pt>
                <c:pt idx="104" formatCode="#,##0">
                  <c:v>9778.9121406780287</c:v>
                </c:pt>
                <c:pt idx="105" formatCode="#,##0">
                  <c:v>9571.3725769656448</c:v>
                </c:pt>
                <c:pt idx="106" formatCode="#,##0">
                  <c:v>9363.0780046187883</c:v>
                </c:pt>
                <c:pt idx="107" formatCode="#,##0">
                  <c:v>9153.9058971181184</c:v>
                </c:pt>
                <c:pt idx="108" formatCode="#,##0">
                  <c:v>8943.8612066982005</c:v>
                </c:pt>
                <c:pt idx="109" formatCode="#,##0">
                  <c:v>8733.4826071830303</c:v>
                </c:pt>
                <c:pt idx="110" formatCode="#,##0">
                  <c:v>8524.2805747821403</c:v>
                </c:pt>
                <c:pt idx="111" formatCode="#,##0">
                  <c:v>8317.3851737700406</c:v>
                </c:pt>
                <c:pt idx="112" formatCode="#,##0">
                  <c:v>8112.739096901033</c:v>
                </c:pt>
                <c:pt idx="113" formatCode="#,##0">
                  <c:v>7909.927352430961</c:v>
                </c:pt>
                <c:pt idx="114" formatCode="#,##0">
                  <c:v>7708.9144896136586</c:v>
                </c:pt>
                <c:pt idx="115" formatCode="#,##0">
                  <c:v>7509.7857886288766</c:v>
                </c:pt>
                <c:pt idx="116" formatCode="#,##0">
                  <c:v>7312.8031151383575</c:v>
                </c:pt>
                <c:pt idx="117" formatCode="#,##0">
                  <c:v>7118.9528990941071</c:v>
                </c:pt>
                <c:pt idx="118" formatCode="#,##0">
                  <c:v>6929.0458682360886</c:v>
                </c:pt>
                <c:pt idx="119" formatCode="#,##0">
                  <c:v>6742.8497714274572</c:v>
                </c:pt>
                <c:pt idx="120" formatCode="#,##0">
                  <c:v>6560.1632156124761</c:v>
                </c:pt>
                <c:pt idx="121" formatCode="#,##0">
                  <c:v>6380.8665114722608</c:v>
                </c:pt>
                <c:pt idx="122" formatCode="#,##0">
                  <c:v>6204.9209476599099</c:v>
                </c:pt>
                <c:pt idx="123" formatCode="#,##0">
                  <c:v>6032.350733621276</c:v>
                </c:pt>
                <c:pt idx="124" formatCode="#,##0">
                  <c:v>5863.7071431953927</c:v>
                </c:pt>
                <c:pt idx="125" formatCode="#,##0">
                  <c:v>5699.3104253141364</c:v>
                </c:pt>
                <c:pt idx="126" formatCode="#,##0">
                  <c:v>5538.8605473874723</c:v>
                </c:pt>
                <c:pt idx="127" formatCode="#,##0">
                  <c:v>5382.0056795178034</c:v>
                </c:pt>
                <c:pt idx="128" formatCode="#,##0">
                  <c:v>5228.5828147970387</c:v>
                </c:pt>
                <c:pt idx="129" formatCode="#,##0">
                  <c:v>5078.472171521812</c:v>
                </c:pt>
                <c:pt idx="130" formatCode="#,##0">
                  <c:v>4931.2859269107666</c:v>
                </c:pt>
                <c:pt idx="131" formatCode="#,##0">
                  <c:v>4786.8400647836488</c:v>
                </c:pt>
                <c:pt idx="132" formatCode="#,##0">
                  <c:v>4645.0658134591567</c:v>
                </c:pt>
                <c:pt idx="133" formatCode="#,##0">
                  <c:v>4505.9570592995324</c:v>
                </c:pt>
                <c:pt idx="134" formatCode="#,##0">
                  <c:v>4369.5391905155029</c:v>
                </c:pt>
                <c:pt idx="135" formatCode="#,##0">
                  <c:v>4235.850782959873</c:v>
                </c:pt>
                <c:pt idx="136" formatCode="#,##0">
                  <c:v>4104.9330139377107</c:v>
                </c:pt>
                <c:pt idx="137" formatCode="#,##0">
                  <c:v>3976.8237353467121</c:v>
                </c:pt>
                <c:pt idx="138" formatCode="#,##0">
                  <c:v>3851.5543523439878</c:v>
                </c:pt>
                <c:pt idx="139" formatCode="#,##0">
                  <c:v>3729.1873464644714</c:v>
                </c:pt>
                <c:pt idx="140" formatCode="#,##0">
                  <c:v>3609.7547346826841</c:v>
                </c:pt>
                <c:pt idx="141" formatCode="#,##0">
                  <c:v>3493.2671870488753</c:v>
                </c:pt>
                <c:pt idx="142" formatCode="#,##0">
                  <c:v>3379.7201969371345</c:v>
                </c:pt>
                <c:pt idx="143" formatCode="#,##0">
                  <c:v>3269.0982845634344</c:v>
                </c:pt>
                <c:pt idx="144" formatCode="#,##0">
                  <c:v>3161.4788453360129</c:v>
                </c:pt>
                <c:pt idx="145" formatCode="#,##0">
                  <c:v>3056.8756506496816</c:v>
                </c:pt>
                <c:pt idx="146" formatCode="#,##0">
                  <c:v>2955.263682521128</c:v>
                </c:pt>
                <c:pt idx="147" formatCode="#,##0">
                  <c:v>2856.5950830364159</c:v>
                </c:pt>
                <c:pt idx="148" formatCode="#,##0">
                  <c:v>2760.8092849306327</c:v>
                </c:pt>
                <c:pt idx="149" formatCode="#,##0">
                  <c:v>2667.8393428623863</c:v>
                </c:pt>
                <c:pt idx="150" formatCode="#,##0">
                  <c:v>2577.6157983374615</c:v>
                </c:pt>
                <c:pt idx="151" formatCode="#,##0">
                  <c:v>2490.0689580300646</c:v>
                </c:pt>
                <c:pt idx="152" formatCode="#,##0">
                  <c:v>2405.1301648471999</c:v>
                </c:pt>
                <c:pt idx="153" formatCode="#,##0">
                  <c:v>2322.7324415182925</c:v>
                </c:pt>
                <c:pt idx="154" formatCode="#,##0">
                  <c:v>2242.8107538731028</c:v>
                </c:pt>
                <c:pt idx="155" formatCode="#,##0">
                  <c:v>2165.3020529749319</c:v>
                </c:pt>
                <c:pt idx="156" formatCode="#,##0">
                  <c:v>2090.1451970928133</c:v>
                </c:pt>
                <c:pt idx="157" formatCode="#,##0">
                  <c:v>2017.2808162434233</c:v>
                </c:pt>
                <c:pt idx="158" formatCode="#,##0">
                  <c:v>1946.6511570911789</c:v>
                </c:pt>
                <c:pt idx="159" formatCode="#,##0">
                  <c:v>1876.7764437657638</c:v>
                </c:pt>
                <c:pt idx="160" formatCode="#,##0">
                  <c:v>1806.9948930583569</c:v>
                </c:pt>
                <c:pt idx="161" formatCode="#,##0">
                  <c:v>1737.1294337300574</c:v>
                </c:pt>
                <c:pt idx="162" formatCode="#,##0">
                  <c:v>1667.2344082769919</c:v>
                </c:pt>
                <c:pt idx="163" formatCode="#,##0">
                  <c:v>1597.632388162375</c:v>
                </c:pt>
                <c:pt idx="164" formatCode="#,##0">
                  <c:v>1528.6142668625741</c:v>
                </c:pt>
                <c:pt idx="165" formatCode="#,##0">
                  <c:v>1460.4380239323395</c:v>
                </c:pt>
                <c:pt idx="166" formatCode="#,##0">
                  <c:v>1393.3302245246157</c:v>
                </c:pt>
                <c:pt idx="167" formatCode="#,##0">
                  <c:v>1327.4883564475529</c:v>
                </c:pt>
                <c:pt idx="168" formatCode="#,##0">
                  <c:v>1263.3138355689778</c:v>
                </c:pt>
                <c:pt idx="169" formatCode="#,##0">
                  <c:v>1201.0440251995058</c:v>
                </c:pt>
                <c:pt idx="170" formatCode="#,##0">
                  <c:v>1140.8128591460841</c:v>
                </c:pt>
                <c:pt idx="171" formatCode="#,##0">
                  <c:v>1082.6891558147577</c:v>
                </c:pt>
                <c:pt idx="172" formatCode="#,##0">
                  <c:v>1026.7007613243163</c:v>
                </c:pt>
                <c:pt idx="173" formatCode="#,##0">
                  <c:v>972.84968294209114</c:v>
                </c:pt>
                <c:pt idx="174" formatCode="#,##0">
                  <c:v>921.12150496045706</c:v>
                </c:pt>
                <c:pt idx="175" formatCode="#,##0">
                  <c:v>871.64745552548391</c:v>
                </c:pt>
                <c:pt idx="176" formatCode="#,##0">
                  <c:v>824.76256741152724</c:v>
                </c:pt>
                <c:pt idx="177" formatCode="#,##0">
                  <c:v>780.55320998582943</c:v>
                </c:pt>
                <c:pt idx="178" formatCode="#,##0">
                  <c:v>738.96800632447344</c:v>
                </c:pt>
                <c:pt idx="179" formatCode="#,##0">
                  <c:v>699.88390304256825</c:v>
                </c:pt>
                <c:pt idx="180" formatCode="#,##0">
                  <c:v>663.14514194385958</c:v>
                </c:pt>
                <c:pt idx="181" formatCode="#,##0">
                  <c:v>628.58580972505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8C-45EE-A9B5-86164ED9B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197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25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  <a:prstDash val="sysDash"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58</c:v>
                </c:pt>
                <c:pt idx="1">
                  <c:v>8440</c:v>
                </c:pt>
                <c:pt idx="2">
                  <c:v>8385</c:v>
                </c:pt>
                <c:pt idx="3">
                  <c:v>8390</c:v>
                </c:pt>
                <c:pt idx="4">
                  <c:v>8454</c:v>
                </c:pt>
                <c:pt idx="5">
                  <c:v>8110</c:v>
                </c:pt>
                <c:pt idx="6">
                  <c:v>8334</c:v>
                </c:pt>
                <c:pt idx="7">
                  <c:v>9009</c:v>
                </c:pt>
                <c:pt idx="8">
                  <c:v>8983</c:v>
                </c:pt>
                <c:pt idx="9">
                  <c:v>9003</c:v>
                </c:pt>
                <c:pt idx="10">
                  <c:v>8965</c:v>
                </c:pt>
                <c:pt idx="11">
                  <c:v>8933</c:v>
                </c:pt>
                <c:pt idx="12">
                  <c:v>8533</c:v>
                </c:pt>
                <c:pt idx="13">
                  <c:v>8747</c:v>
                </c:pt>
                <c:pt idx="14">
                  <c:v>9463</c:v>
                </c:pt>
                <c:pt idx="15">
                  <c:v>9331</c:v>
                </c:pt>
                <c:pt idx="16">
                  <c:v>9162</c:v>
                </c:pt>
                <c:pt idx="17">
                  <c:v>8956</c:v>
                </c:pt>
                <c:pt idx="18">
                  <c:v>8765</c:v>
                </c:pt>
                <c:pt idx="19">
                  <c:v>8206</c:v>
                </c:pt>
                <c:pt idx="20">
                  <c:v>8320</c:v>
                </c:pt>
                <c:pt idx="21">
                  <c:v>8956</c:v>
                </c:pt>
                <c:pt idx="22">
                  <c:v>8623</c:v>
                </c:pt>
                <c:pt idx="23">
                  <c:v>8307</c:v>
                </c:pt>
                <c:pt idx="24">
                  <c:v>8152</c:v>
                </c:pt>
                <c:pt idx="25">
                  <c:v>8030</c:v>
                </c:pt>
                <c:pt idx="26">
                  <c:v>7509</c:v>
                </c:pt>
                <c:pt idx="27">
                  <c:v>7559</c:v>
                </c:pt>
                <c:pt idx="28">
                  <c:v>8099</c:v>
                </c:pt>
                <c:pt idx="29">
                  <c:v>7831</c:v>
                </c:pt>
                <c:pt idx="30">
                  <c:v>7511</c:v>
                </c:pt>
                <c:pt idx="31">
                  <c:v>7208</c:v>
                </c:pt>
                <c:pt idx="32">
                  <c:v>6381</c:v>
                </c:pt>
                <c:pt idx="33">
                  <c:v>6230</c:v>
                </c:pt>
                <c:pt idx="34">
                  <c:v>6326</c:v>
                </c:pt>
                <c:pt idx="35">
                  <c:v>6394</c:v>
                </c:pt>
                <c:pt idx="36">
                  <c:v>7069</c:v>
                </c:pt>
                <c:pt idx="37">
                  <c:v>6715</c:v>
                </c:pt>
                <c:pt idx="38">
                  <c:v>6238</c:v>
                </c:pt>
                <c:pt idx="39">
                  <c:v>5922</c:v>
                </c:pt>
                <c:pt idx="40">
                  <c:v>5287</c:v>
                </c:pt>
                <c:pt idx="41">
                  <c:v>5242</c:v>
                </c:pt>
                <c:pt idx="42">
                  <c:v>5533</c:v>
                </c:pt>
                <c:pt idx="43">
                  <c:v>5225</c:v>
                </c:pt>
                <c:pt idx="44">
                  <c:v>4926</c:v>
                </c:pt>
                <c:pt idx="45">
                  <c:v>4668</c:v>
                </c:pt>
                <c:pt idx="46">
                  <c:v>4423</c:v>
                </c:pt>
                <c:pt idx="47">
                  <c:v>4023</c:v>
                </c:pt>
                <c:pt idx="48">
                  <c:v>4032</c:v>
                </c:pt>
                <c:pt idx="49">
                  <c:v>4308</c:v>
                </c:pt>
                <c:pt idx="50">
                  <c:v>4135</c:v>
                </c:pt>
                <c:pt idx="51">
                  <c:v>3976</c:v>
                </c:pt>
                <c:pt idx="52">
                  <c:v>3748</c:v>
                </c:pt>
                <c:pt idx="53">
                  <c:v>3543</c:v>
                </c:pt>
                <c:pt idx="54">
                  <c:v>3189</c:v>
                </c:pt>
                <c:pt idx="55">
                  <c:v>3189</c:v>
                </c:pt>
                <c:pt idx="56">
                  <c:v>3341</c:v>
                </c:pt>
                <c:pt idx="57">
                  <c:v>3171</c:v>
                </c:pt>
                <c:pt idx="58">
                  <c:v>3016</c:v>
                </c:pt>
                <c:pt idx="59">
                  <c:v>2863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F0-41F6-A6AD-E2633F5BF9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8F0-41F6-A6AD-E2633F5BF952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8F0-41F6-A6AD-E2633F5BF952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8F0-41F6-A6AD-E2633F5BF952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9</c:v>
                </c:pt>
                <c:pt idx="1">
                  <c:v>8159</c:v>
                </c:pt>
                <c:pt idx="2">
                  <c:v>8159</c:v>
                </c:pt>
                <c:pt idx="3">
                  <c:v>8159</c:v>
                </c:pt>
                <c:pt idx="4">
                  <c:v>8159</c:v>
                </c:pt>
                <c:pt idx="5">
                  <c:v>8159</c:v>
                </c:pt>
                <c:pt idx="6">
                  <c:v>8159</c:v>
                </c:pt>
                <c:pt idx="7">
                  <c:v>8159</c:v>
                </c:pt>
                <c:pt idx="8">
                  <c:v>8159</c:v>
                </c:pt>
                <c:pt idx="9">
                  <c:v>8159</c:v>
                </c:pt>
                <c:pt idx="10">
                  <c:v>8159</c:v>
                </c:pt>
                <c:pt idx="11">
                  <c:v>8159</c:v>
                </c:pt>
                <c:pt idx="12">
                  <c:v>8159</c:v>
                </c:pt>
                <c:pt idx="13">
                  <c:v>8159</c:v>
                </c:pt>
                <c:pt idx="14">
                  <c:v>8159</c:v>
                </c:pt>
                <c:pt idx="15">
                  <c:v>8159</c:v>
                </c:pt>
                <c:pt idx="16">
                  <c:v>8159</c:v>
                </c:pt>
                <c:pt idx="17">
                  <c:v>8159</c:v>
                </c:pt>
                <c:pt idx="18">
                  <c:v>8159</c:v>
                </c:pt>
                <c:pt idx="19">
                  <c:v>8159</c:v>
                </c:pt>
                <c:pt idx="20">
                  <c:v>8159</c:v>
                </c:pt>
                <c:pt idx="21">
                  <c:v>8159</c:v>
                </c:pt>
                <c:pt idx="22">
                  <c:v>8159</c:v>
                </c:pt>
                <c:pt idx="23">
                  <c:v>8159</c:v>
                </c:pt>
                <c:pt idx="24">
                  <c:v>8159</c:v>
                </c:pt>
                <c:pt idx="25">
                  <c:v>8159</c:v>
                </c:pt>
                <c:pt idx="26">
                  <c:v>8159</c:v>
                </c:pt>
                <c:pt idx="27">
                  <c:v>8159</c:v>
                </c:pt>
                <c:pt idx="28">
                  <c:v>8159</c:v>
                </c:pt>
                <c:pt idx="29">
                  <c:v>8159</c:v>
                </c:pt>
                <c:pt idx="30">
                  <c:v>8159</c:v>
                </c:pt>
                <c:pt idx="31">
                  <c:v>8159</c:v>
                </c:pt>
                <c:pt idx="32">
                  <c:v>8159</c:v>
                </c:pt>
                <c:pt idx="33">
                  <c:v>8159</c:v>
                </c:pt>
                <c:pt idx="34">
                  <c:v>8159</c:v>
                </c:pt>
                <c:pt idx="35">
                  <c:v>8159</c:v>
                </c:pt>
                <c:pt idx="36">
                  <c:v>8159</c:v>
                </c:pt>
                <c:pt idx="37">
                  <c:v>8159</c:v>
                </c:pt>
                <c:pt idx="38">
                  <c:v>8159</c:v>
                </c:pt>
                <c:pt idx="39">
                  <c:v>8159</c:v>
                </c:pt>
                <c:pt idx="40">
                  <c:v>8159</c:v>
                </c:pt>
                <c:pt idx="41">
                  <c:v>8159</c:v>
                </c:pt>
                <c:pt idx="42">
                  <c:v>8159</c:v>
                </c:pt>
                <c:pt idx="43">
                  <c:v>8159</c:v>
                </c:pt>
                <c:pt idx="44">
                  <c:v>8159</c:v>
                </c:pt>
                <c:pt idx="45">
                  <c:v>8159</c:v>
                </c:pt>
                <c:pt idx="46">
                  <c:v>8159</c:v>
                </c:pt>
                <c:pt idx="47">
                  <c:v>8159</c:v>
                </c:pt>
                <c:pt idx="48">
                  <c:v>8159</c:v>
                </c:pt>
                <c:pt idx="49">
                  <c:v>8159</c:v>
                </c:pt>
                <c:pt idx="50">
                  <c:v>8159</c:v>
                </c:pt>
                <c:pt idx="51">
                  <c:v>8159</c:v>
                </c:pt>
                <c:pt idx="52">
                  <c:v>8159</c:v>
                </c:pt>
                <c:pt idx="53">
                  <c:v>8159</c:v>
                </c:pt>
                <c:pt idx="54">
                  <c:v>8159</c:v>
                </c:pt>
                <c:pt idx="55">
                  <c:v>8159</c:v>
                </c:pt>
                <c:pt idx="56">
                  <c:v>8159</c:v>
                </c:pt>
                <c:pt idx="57">
                  <c:v>8159</c:v>
                </c:pt>
                <c:pt idx="58">
                  <c:v>8159</c:v>
                </c:pt>
                <c:pt idx="59">
                  <c:v>8159</c:v>
                </c:pt>
                <c:pt idx="60">
                  <c:v>8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8F0-41F6-A6AD-E2633F5BF9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58</c:v>
                </c:pt>
                <c:pt idx="1">
                  <c:v>8440</c:v>
                </c:pt>
                <c:pt idx="2">
                  <c:v>8385</c:v>
                </c:pt>
                <c:pt idx="3">
                  <c:v>8390</c:v>
                </c:pt>
                <c:pt idx="4">
                  <c:v>8454</c:v>
                </c:pt>
                <c:pt idx="5">
                  <c:v>8110</c:v>
                </c:pt>
                <c:pt idx="6">
                  <c:v>8334</c:v>
                </c:pt>
                <c:pt idx="7">
                  <c:v>9009</c:v>
                </c:pt>
                <c:pt idx="8">
                  <c:v>8983</c:v>
                </c:pt>
                <c:pt idx="9">
                  <c:v>9003</c:v>
                </c:pt>
                <c:pt idx="10">
                  <c:v>8965</c:v>
                </c:pt>
                <c:pt idx="11">
                  <c:v>8933</c:v>
                </c:pt>
                <c:pt idx="12">
                  <c:v>8533</c:v>
                </c:pt>
                <c:pt idx="13">
                  <c:v>8747</c:v>
                </c:pt>
                <c:pt idx="14">
                  <c:v>9463</c:v>
                </c:pt>
                <c:pt idx="15">
                  <c:v>9331</c:v>
                </c:pt>
                <c:pt idx="16">
                  <c:v>9162</c:v>
                </c:pt>
                <c:pt idx="17">
                  <c:v>8956</c:v>
                </c:pt>
                <c:pt idx="18">
                  <c:v>8765</c:v>
                </c:pt>
                <c:pt idx="19">
                  <c:v>8206</c:v>
                </c:pt>
                <c:pt idx="20">
                  <c:v>8320</c:v>
                </c:pt>
                <c:pt idx="21">
                  <c:v>8956</c:v>
                </c:pt>
                <c:pt idx="22">
                  <c:v>8623</c:v>
                </c:pt>
                <c:pt idx="23">
                  <c:v>8307</c:v>
                </c:pt>
                <c:pt idx="24">
                  <c:v>8152</c:v>
                </c:pt>
                <c:pt idx="25">
                  <c:v>8030</c:v>
                </c:pt>
                <c:pt idx="26">
                  <c:v>7509</c:v>
                </c:pt>
                <c:pt idx="27">
                  <c:v>7559</c:v>
                </c:pt>
                <c:pt idx="28">
                  <c:v>8099</c:v>
                </c:pt>
                <c:pt idx="29">
                  <c:v>7831</c:v>
                </c:pt>
                <c:pt idx="30">
                  <c:v>7511</c:v>
                </c:pt>
                <c:pt idx="31">
                  <c:v>7208</c:v>
                </c:pt>
                <c:pt idx="32">
                  <c:v>6381</c:v>
                </c:pt>
                <c:pt idx="33">
                  <c:v>6230</c:v>
                </c:pt>
                <c:pt idx="34">
                  <c:v>6326</c:v>
                </c:pt>
                <c:pt idx="35">
                  <c:v>6394</c:v>
                </c:pt>
                <c:pt idx="36">
                  <c:v>7069</c:v>
                </c:pt>
                <c:pt idx="37">
                  <c:v>6715</c:v>
                </c:pt>
                <c:pt idx="38">
                  <c:v>6238</c:v>
                </c:pt>
                <c:pt idx="39">
                  <c:v>5922</c:v>
                </c:pt>
                <c:pt idx="40">
                  <c:v>5287</c:v>
                </c:pt>
                <c:pt idx="41">
                  <c:v>5242</c:v>
                </c:pt>
                <c:pt idx="42">
                  <c:v>5533</c:v>
                </c:pt>
                <c:pt idx="43">
                  <c:v>5225</c:v>
                </c:pt>
                <c:pt idx="44">
                  <c:v>4926</c:v>
                </c:pt>
                <c:pt idx="45">
                  <c:v>4668</c:v>
                </c:pt>
                <c:pt idx="46">
                  <c:v>4423</c:v>
                </c:pt>
                <c:pt idx="47">
                  <c:v>4023</c:v>
                </c:pt>
                <c:pt idx="48">
                  <c:v>4032</c:v>
                </c:pt>
                <c:pt idx="49">
                  <c:v>4308</c:v>
                </c:pt>
                <c:pt idx="50">
                  <c:v>4135</c:v>
                </c:pt>
                <c:pt idx="51">
                  <c:v>3976</c:v>
                </c:pt>
                <c:pt idx="52">
                  <c:v>3748</c:v>
                </c:pt>
                <c:pt idx="53">
                  <c:v>3543</c:v>
                </c:pt>
                <c:pt idx="54">
                  <c:v>3189</c:v>
                </c:pt>
                <c:pt idx="55">
                  <c:v>3189</c:v>
                </c:pt>
                <c:pt idx="56">
                  <c:v>3341</c:v>
                </c:pt>
                <c:pt idx="57">
                  <c:v>3171</c:v>
                </c:pt>
                <c:pt idx="58">
                  <c:v>3016</c:v>
                </c:pt>
                <c:pt idx="59">
                  <c:v>2863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03-4F97-9F18-318FCFB157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B03-4F97-9F18-318FCFB15773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B03-4F97-9F18-318FCFB15773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B03-4F97-9F18-318FCFB15773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9</c:v>
                </c:pt>
                <c:pt idx="1">
                  <c:v>8159</c:v>
                </c:pt>
                <c:pt idx="2">
                  <c:v>8159</c:v>
                </c:pt>
                <c:pt idx="3">
                  <c:v>8159</c:v>
                </c:pt>
                <c:pt idx="4">
                  <c:v>8159</c:v>
                </c:pt>
                <c:pt idx="5">
                  <c:v>8159</c:v>
                </c:pt>
                <c:pt idx="6">
                  <c:v>8159</c:v>
                </c:pt>
                <c:pt idx="7">
                  <c:v>8159</c:v>
                </c:pt>
                <c:pt idx="8">
                  <c:v>8159</c:v>
                </c:pt>
                <c:pt idx="9">
                  <c:v>8159</c:v>
                </c:pt>
                <c:pt idx="10">
                  <c:v>8159</c:v>
                </c:pt>
                <c:pt idx="11">
                  <c:v>8159</c:v>
                </c:pt>
                <c:pt idx="12">
                  <c:v>8159</c:v>
                </c:pt>
                <c:pt idx="13">
                  <c:v>8159</c:v>
                </c:pt>
                <c:pt idx="14">
                  <c:v>8159</c:v>
                </c:pt>
                <c:pt idx="15">
                  <c:v>8159</c:v>
                </c:pt>
                <c:pt idx="16">
                  <c:v>8159</c:v>
                </c:pt>
                <c:pt idx="17">
                  <c:v>8159</c:v>
                </c:pt>
                <c:pt idx="18">
                  <c:v>8159</c:v>
                </c:pt>
                <c:pt idx="19">
                  <c:v>8159</c:v>
                </c:pt>
                <c:pt idx="20">
                  <c:v>8159</c:v>
                </c:pt>
                <c:pt idx="21">
                  <c:v>8159</c:v>
                </c:pt>
                <c:pt idx="22">
                  <c:v>8159</c:v>
                </c:pt>
                <c:pt idx="23">
                  <c:v>8159</c:v>
                </c:pt>
                <c:pt idx="24">
                  <c:v>8159</c:v>
                </c:pt>
                <c:pt idx="25">
                  <c:v>8159</c:v>
                </c:pt>
                <c:pt idx="26">
                  <c:v>8159</c:v>
                </c:pt>
                <c:pt idx="27">
                  <c:v>8159</c:v>
                </c:pt>
                <c:pt idx="28">
                  <c:v>8159</c:v>
                </c:pt>
                <c:pt idx="29">
                  <c:v>8159</c:v>
                </c:pt>
                <c:pt idx="30">
                  <c:v>8159</c:v>
                </c:pt>
                <c:pt idx="31">
                  <c:v>8159</c:v>
                </c:pt>
                <c:pt idx="32">
                  <c:v>8159</c:v>
                </c:pt>
                <c:pt idx="33">
                  <c:v>8159</c:v>
                </c:pt>
                <c:pt idx="34">
                  <c:v>8159</c:v>
                </c:pt>
                <c:pt idx="35">
                  <c:v>8159</c:v>
                </c:pt>
                <c:pt idx="36">
                  <c:v>8159</c:v>
                </c:pt>
                <c:pt idx="37">
                  <c:v>8159</c:v>
                </c:pt>
                <c:pt idx="38">
                  <c:v>8159</c:v>
                </c:pt>
                <c:pt idx="39">
                  <c:v>8159</c:v>
                </c:pt>
                <c:pt idx="40">
                  <c:v>8159</c:v>
                </c:pt>
                <c:pt idx="41">
                  <c:v>8159</c:v>
                </c:pt>
                <c:pt idx="42">
                  <c:v>8159</c:v>
                </c:pt>
                <c:pt idx="43">
                  <c:v>8159</c:v>
                </c:pt>
                <c:pt idx="44">
                  <c:v>8159</c:v>
                </c:pt>
                <c:pt idx="45">
                  <c:v>8159</c:v>
                </c:pt>
                <c:pt idx="46">
                  <c:v>8159</c:v>
                </c:pt>
                <c:pt idx="47">
                  <c:v>8159</c:v>
                </c:pt>
                <c:pt idx="48">
                  <c:v>8159</c:v>
                </c:pt>
                <c:pt idx="49">
                  <c:v>8159</c:v>
                </c:pt>
                <c:pt idx="50">
                  <c:v>8159</c:v>
                </c:pt>
                <c:pt idx="51">
                  <c:v>8159</c:v>
                </c:pt>
                <c:pt idx="52">
                  <c:v>8159</c:v>
                </c:pt>
                <c:pt idx="53">
                  <c:v>8159</c:v>
                </c:pt>
                <c:pt idx="54">
                  <c:v>8159</c:v>
                </c:pt>
                <c:pt idx="55">
                  <c:v>8159</c:v>
                </c:pt>
                <c:pt idx="56">
                  <c:v>8159</c:v>
                </c:pt>
                <c:pt idx="57">
                  <c:v>8159</c:v>
                </c:pt>
                <c:pt idx="58">
                  <c:v>8159</c:v>
                </c:pt>
                <c:pt idx="59">
                  <c:v>8159</c:v>
                </c:pt>
                <c:pt idx="60">
                  <c:v>8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B03-4F97-9F18-318FCFB157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65+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05</c:f>
              <c:numCache>
                <c:formatCode>m/d/yyyy</c:formatCode>
                <c:ptCount val="204"/>
                <c:pt idx="0">
                  <c:v>44228</c:v>
                </c:pt>
                <c:pt idx="1">
                  <c:v>44229</c:v>
                </c:pt>
                <c:pt idx="2">
                  <c:v>44230</c:v>
                </c:pt>
                <c:pt idx="3">
                  <c:v>44231</c:v>
                </c:pt>
                <c:pt idx="4">
                  <c:v>44232</c:v>
                </c:pt>
                <c:pt idx="5">
                  <c:v>44233</c:v>
                </c:pt>
                <c:pt idx="6">
                  <c:v>44234</c:v>
                </c:pt>
                <c:pt idx="7">
                  <c:v>44235</c:v>
                </c:pt>
                <c:pt idx="8">
                  <c:v>44236</c:v>
                </c:pt>
                <c:pt idx="9">
                  <c:v>44237</c:v>
                </c:pt>
                <c:pt idx="10">
                  <c:v>44238</c:v>
                </c:pt>
                <c:pt idx="11">
                  <c:v>44239</c:v>
                </c:pt>
                <c:pt idx="12">
                  <c:v>44240</c:v>
                </c:pt>
                <c:pt idx="13">
                  <c:v>44241</c:v>
                </c:pt>
                <c:pt idx="14">
                  <c:v>44242</c:v>
                </c:pt>
                <c:pt idx="15">
                  <c:v>44243</c:v>
                </c:pt>
                <c:pt idx="16">
                  <c:v>44244</c:v>
                </c:pt>
                <c:pt idx="17">
                  <c:v>44245</c:v>
                </c:pt>
                <c:pt idx="18">
                  <c:v>44246</c:v>
                </c:pt>
                <c:pt idx="19">
                  <c:v>44247</c:v>
                </c:pt>
                <c:pt idx="20">
                  <c:v>44248</c:v>
                </c:pt>
                <c:pt idx="21">
                  <c:v>44249</c:v>
                </c:pt>
                <c:pt idx="22">
                  <c:v>44250</c:v>
                </c:pt>
                <c:pt idx="23">
                  <c:v>44251</c:v>
                </c:pt>
                <c:pt idx="24">
                  <c:v>44252</c:v>
                </c:pt>
                <c:pt idx="25">
                  <c:v>44253</c:v>
                </c:pt>
                <c:pt idx="26">
                  <c:v>44254</c:v>
                </c:pt>
                <c:pt idx="27">
                  <c:v>44255</c:v>
                </c:pt>
                <c:pt idx="28">
                  <c:v>44256</c:v>
                </c:pt>
                <c:pt idx="29">
                  <c:v>44257</c:v>
                </c:pt>
                <c:pt idx="30">
                  <c:v>44258</c:v>
                </c:pt>
                <c:pt idx="31">
                  <c:v>44259</c:v>
                </c:pt>
                <c:pt idx="32">
                  <c:v>44260</c:v>
                </c:pt>
                <c:pt idx="33">
                  <c:v>44261</c:v>
                </c:pt>
                <c:pt idx="34">
                  <c:v>44262</c:v>
                </c:pt>
                <c:pt idx="35">
                  <c:v>44263</c:v>
                </c:pt>
                <c:pt idx="36">
                  <c:v>44264</c:v>
                </c:pt>
                <c:pt idx="37">
                  <c:v>44265</c:v>
                </c:pt>
                <c:pt idx="38">
                  <c:v>44266</c:v>
                </c:pt>
                <c:pt idx="39">
                  <c:v>44267</c:v>
                </c:pt>
                <c:pt idx="40">
                  <c:v>44268</c:v>
                </c:pt>
                <c:pt idx="41">
                  <c:v>44269</c:v>
                </c:pt>
                <c:pt idx="42">
                  <c:v>44270</c:v>
                </c:pt>
                <c:pt idx="43">
                  <c:v>44271</c:v>
                </c:pt>
                <c:pt idx="44">
                  <c:v>44272</c:v>
                </c:pt>
                <c:pt idx="45">
                  <c:v>44273</c:v>
                </c:pt>
                <c:pt idx="46">
                  <c:v>44274</c:v>
                </c:pt>
                <c:pt idx="47">
                  <c:v>44275</c:v>
                </c:pt>
                <c:pt idx="48">
                  <c:v>44276</c:v>
                </c:pt>
                <c:pt idx="49">
                  <c:v>44277</c:v>
                </c:pt>
                <c:pt idx="50">
                  <c:v>44278</c:v>
                </c:pt>
                <c:pt idx="51">
                  <c:v>44279</c:v>
                </c:pt>
                <c:pt idx="52">
                  <c:v>44280</c:v>
                </c:pt>
                <c:pt idx="53">
                  <c:v>44281</c:v>
                </c:pt>
                <c:pt idx="54">
                  <c:v>44282</c:v>
                </c:pt>
                <c:pt idx="55">
                  <c:v>44283</c:v>
                </c:pt>
                <c:pt idx="56">
                  <c:v>44284</c:v>
                </c:pt>
                <c:pt idx="57">
                  <c:v>44285</c:v>
                </c:pt>
                <c:pt idx="58">
                  <c:v>44286</c:v>
                </c:pt>
                <c:pt idx="59">
                  <c:v>44287</c:v>
                </c:pt>
                <c:pt idx="60">
                  <c:v>44288</c:v>
                </c:pt>
                <c:pt idx="61">
                  <c:v>44289</c:v>
                </c:pt>
                <c:pt idx="62">
                  <c:v>44290</c:v>
                </c:pt>
                <c:pt idx="63">
                  <c:v>44291</c:v>
                </c:pt>
                <c:pt idx="64">
                  <c:v>44292</c:v>
                </c:pt>
                <c:pt idx="65">
                  <c:v>44293</c:v>
                </c:pt>
                <c:pt idx="66">
                  <c:v>44294</c:v>
                </c:pt>
                <c:pt idx="67">
                  <c:v>44295</c:v>
                </c:pt>
                <c:pt idx="68">
                  <c:v>44296</c:v>
                </c:pt>
                <c:pt idx="69">
                  <c:v>44297</c:v>
                </c:pt>
                <c:pt idx="70">
                  <c:v>44298</c:v>
                </c:pt>
                <c:pt idx="71">
                  <c:v>44299</c:v>
                </c:pt>
                <c:pt idx="72">
                  <c:v>44300</c:v>
                </c:pt>
                <c:pt idx="73">
                  <c:v>44301</c:v>
                </c:pt>
                <c:pt idx="74">
                  <c:v>44302</c:v>
                </c:pt>
                <c:pt idx="75">
                  <c:v>44303</c:v>
                </c:pt>
                <c:pt idx="76">
                  <c:v>44304</c:v>
                </c:pt>
                <c:pt idx="77">
                  <c:v>44305</c:v>
                </c:pt>
                <c:pt idx="78">
                  <c:v>44306</c:v>
                </c:pt>
                <c:pt idx="79">
                  <c:v>44307</c:v>
                </c:pt>
                <c:pt idx="80">
                  <c:v>44308</c:v>
                </c:pt>
                <c:pt idx="81">
                  <c:v>44309</c:v>
                </c:pt>
                <c:pt idx="82">
                  <c:v>44310</c:v>
                </c:pt>
                <c:pt idx="83">
                  <c:v>44311</c:v>
                </c:pt>
                <c:pt idx="84">
                  <c:v>44312</c:v>
                </c:pt>
                <c:pt idx="85">
                  <c:v>44313</c:v>
                </c:pt>
                <c:pt idx="86">
                  <c:v>44314</c:v>
                </c:pt>
                <c:pt idx="87">
                  <c:v>44315</c:v>
                </c:pt>
                <c:pt idx="88">
                  <c:v>44316</c:v>
                </c:pt>
                <c:pt idx="89">
                  <c:v>44317</c:v>
                </c:pt>
              </c:numCache>
            </c:numRef>
          </c:cat>
          <c:val>
            <c:numRef>
              <c:f>Sheet1!$B$2:$B$205</c:f>
              <c:numCache>
                <c:formatCode>General</c:formatCode>
                <c:ptCount val="204"/>
                <c:pt idx="0">
                  <c:v>1202</c:v>
                </c:pt>
                <c:pt idx="1">
                  <c:v>1438</c:v>
                </c:pt>
                <c:pt idx="2">
                  <c:v>1432</c:v>
                </c:pt>
                <c:pt idx="3">
                  <c:v>1328</c:v>
                </c:pt>
                <c:pt idx="4">
                  <c:v>1412</c:v>
                </c:pt>
                <c:pt idx="5">
                  <c:v>771</c:v>
                </c:pt>
                <c:pt idx="6">
                  <c:v>448</c:v>
                </c:pt>
                <c:pt idx="7">
                  <c:v>1122</c:v>
                </c:pt>
                <c:pt idx="8">
                  <c:v>1466</c:v>
                </c:pt>
                <c:pt idx="9">
                  <c:v>1383</c:v>
                </c:pt>
                <c:pt idx="10">
                  <c:v>1387</c:v>
                </c:pt>
                <c:pt idx="11">
                  <c:v>1328</c:v>
                </c:pt>
                <c:pt idx="12">
                  <c:v>728</c:v>
                </c:pt>
                <c:pt idx="13">
                  <c:v>457</c:v>
                </c:pt>
                <c:pt idx="14">
                  <c:v>1302</c:v>
                </c:pt>
                <c:pt idx="15">
                  <c:v>1761</c:v>
                </c:pt>
                <c:pt idx="16">
                  <c:v>1459</c:v>
                </c:pt>
                <c:pt idx="17">
                  <c:v>1600</c:v>
                </c:pt>
                <c:pt idx="18">
                  <c:v>1717</c:v>
                </c:pt>
                <c:pt idx="19">
                  <c:v>945</c:v>
                </c:pt>
                <c:pt idx="20">
                  <c:v>581</c:v>
                </c:pt>
                <c:pt idx="21">
                  <c:v>1633</c:v>
                </c:pt>
                <c:pt idx="22">
                  <c:v>2109</c:v>
                </c:pt>
                <c:pt idx="23">
                  <c:v>1925</c:v>
                </c:pt>
                <c:pt idx="24">
                  <c:v>2007</c:v>
                </c:pt>
                <c:pt idx="25">
                  <c:v>2093</c:v>
                </c:pt>
                <c:pt idx="26">
                  <c:v>1051</c:v>
                </c:pt>
                <c:pt idx="27">
                  <c:v>657</c:v>
                </c:pt>
                <c:pt idx="28">
                  <c:v>1851</c:v>
                </c:pt>
                <c:pt idx="29">
                  <c:v>2399</c:v>
                </c:pt>
                <c:pt idx="30">
                  <c:v>2168</c:v>
                </c:pt>
                <c:pt idx="31">
                  <c:v>2054</c:v>
                </c:pt>
                <c:pt idx="32">
                  <c:v>1877</c:v>
                </c:pt>
                <c:pt idx="33">
                  <c:v>1311</c:v>
                </c:pt>
                <c:pt idx="34">
                  <c:v>645</c:v>
                </c:pt>
                <c:pt idx="35">
                  <c:v>1543</c:v>
                </c:pt>
                <c:pt idx="36">
                  <c:v>1984</c:v>
                </c:pt>
                <c:pt idx="37">
                  <c:v>2017</c:v>
                </c:pt>
                <c:pt idx="38">
                  <c:v>1628</c:v>
                </c:pt>
                <c:pt idx="39">
                  <c:v>2249</c:v>
                </c:pt>
                <c:pt idx="40">
                  <c:v>980</c:v>
                </c:pt>
                <c:pt idx="41">
                  <c:v>542</c:v>
                </c:pt>
                <c:pt idx="42">
                  <c:v>1624</c:v>
                </c:pt>
                <c:pt idx="43">
                  <c:v>2051</c:v>
                </c:pt>
                <c:pt idx="44">
                  <c:v>1788</c:v>
                </c:pt>
                <c:pt idx="45">
                  <c:v>1586</c:v>
                </c:pt>
                <c:pt idx="46">
                  <c:v>1430</c:v>
                </c:pt>
                <c:pt idx="47">
                  <c:v>843</c:v>
                </c:pt>
                <c:pt idx="48">
                  <c:v>440</c:v>
                </c:pt>
                <c:pt idx="49">
                  <c:v>1211</c:v>
                </c:pt>
                <c:pt idx="50">
                  <c:v>1622</c:v>
                </c:pt>
                <c:pt idx="51">
                  <c:v>1319</c:v>
                </c:pt>
                <c:pt idx="52">
                  <c:v>1288</c:v>
                </c:pt>
                <c:pt idx="53">
                  <c:v>1176</c:v>
                </c:pt>
                <c:pt idx="54">
                  <c:v>641</c:v>
                </c:pt>
                <c:pt idx="55">
                  <c:v>326</c:v>
                </c:pt>
                <c:pt idx="56">
                  <c:v>1117</c:v>
                </c:pt>
                <c:pt idx="57">
                  <c:v>1294</c:v>
                </c:pt>
                <c:pt idx="58">
                  <c:v>1193</c:v>
                </c:pt>
                <c:pt idx="59">
                  <c:v>989</c:v>
                </c:pt>
                <c:pt idx="60">
                  <c:v>550</c:v>
                </c:pt>
                <c:pt idx="61">
                  <c:v>377</c:v>
                </c:pt>
                <c:pt idx="62">
                  <c:v>327</c:v>
                </c:pt>
                <c:pt idx="63">
                  <c:v>290</c:v>
                </c:pt>
                <c:pt idx="64">
                  <c:v>816</c:v>
                </c:pt>
                <c:pt idx="65">
                  <c:v>980</c:v>
                </c:pt>
                <c:pt idx="66">
                  <c:v>782</c:v>
                </c:pt>
                <c:pt idx="67">
                  <c:v>716</c:v>
                </c:pt>
                <c:pt idx="68">
                  <c:v>363</c:v>
                </c:pt>
                <c:pt idx="69">
                  <c:v>203</c:v>
                </c:pt>
                <c:pt idx="70">
                  <c:v>579</c:v>
                </c:pt>
                <c:pt idx="71">
                  <c:v>691</c:v>
                </c:pt>
                <c:pt idx="72">
                  <c:v>581</c:v>
                </c:pt>
                <c:pt idx="73">
                  <c:v>468</c:v>
                </c:pt>
                <c:pt idx="74">
                  <c:v>512</c:v>
                </c:pt>
                <c:pt idx="75">
                  <c:v>245</c:v>
                </c:pt>
                <c:pt idx="76">
                  <c:v>144</c:v>
                </c:pt>
                <c:pt idx="77">
                  <c:v>468</c:v>
                </c:pt>
                <c:pt idx="78">
                  <c:v>490</c:v>
                </c:pt>
                <c:pt idx="79">
                  <c:v>412</c:v>
                </c:pt>
                <c:pt idx="80">
                  <c:v>400</c:v>
                </c:pt>
                <c:pt idx="81">
                  <c:v>335</c:v>
                </c:pt>
                <c:pt idx="82">
                  <c:v>156</c:v>
                </c:pt>
                <c:pt idx="83">
                  <c:v>120</c:v>
                </c:pt>
                <c:pt idx="84">
                  <c:v>372</c:v>
                </c:pt>
                <c:pt idx="85">
                  <c:v>384</c:v>
                </c:pt>
                <c:pt idx="86">
                  <c:v>330</c:v>
                </c:pt>
                <c:pt idx="87">
                  <c:v>302</c:v>
                </c:pt>
                <c:pt idx="88">
                  <c:v>304</c:v>
                </c:pt>
                <c:pt idx="89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EA-4BD4-9376-87441B21E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  <c:max val="45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206</c:v>
                </c:pt>
                <c:pt idx="1">
                  <c:v>6380</c:v>
                </c:pt>
                <c:pt idx="2">
                  <c:v>6229</c:v>
                </c:pt>
                <c:pt idx="3">
                  <c:v>6325</c:v>
                </c:pt>
                <c:pt idx="4">
                  <c:v>6393</c:v>
                </c:pt>
                <c:pt idx="5">
                  <c:v>7068</c:v>
                </c:pt>
                <c:pt idx="6">
                  <c:v>6715</c:v>
                </c:pt>
                <c:pt idx="7">
                  <c:v>6238</c:v>
                </c:pt>
                <c:pt idx="8">
                  <c:v>5921</c:v>
                </c:pt>
                <c:pt idx="9">
                  <c:v>5286</c:v>
                </c:pt>
                <c:pt idx="10">
                  <c:v>5241</c:v>
                </c:pt>
                <c:pt idx="11">
                  <c:v>5532</c:v>
                </c:pt>
                <c:pt idx="12">
                  <c:v>5224</c:v>
                </c:pt>
                <c:pt idx="13">
                  <c:v>4925</c:v>
                </c:pt>
                <c:pt idx="14">
                  <c:v>4667</c:v>
                </c:pt>
                <c:pt idx="15">
                  <c:v>4421</c:v>
                </c:pt>
                <c:pt idx="16">
                  <c:v>4021</c:v>
                </c:pt>
                <c:pt idx="17">
                  <c:v>4028</c:v>
                </c:pt>
                <c:pt idx="18">
                  <c:v>4304</c:v>
                </c:pt>
                <c:pt idx="19">
                  <c:v>4137</c:v>
                </c:pt>
                <c:pt idx="20">
                  <c:v>3975</c:v>
                </c:pt>
                <c:pt idx="21">
                  <c:v>3741</c:v>
                </c:pt>
                <c:pt idx="22">
                  <c:v>3536</c:v>
                </c:pt>
                <c:pt idx="23">
                  <c:v>3183</c:v>
                </c:pt>
                <c:pt idx="24">
                  <c:v>3183</c:v>
                </c:pt>
                <c:pt idx="25">
                  <c:v>3337</c:v>
                </c:pt>
                <c:pt idx="26">
                  <c:v>3164</c:v>
                </c:pt>
                <c:pt idx="27">
                  <c:v>3011</c:v>
                </c:pt>
                <c:pt idx="28">
                  <c:v>2836</c:v>
                </c:pt>
                <c:pt idx="29">
                  <c:v>2659</c:v>
                </c:pt>
                <c:pt idx="30">
                  <c:v>2472</c:v>
                </c:pt>
                <c:pt idx="31">
                  <c:v>2494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13-4D92-8453-985B04014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26">
                  <c:v>3204.5717560709104</c:v>
                </c:pt>
                <c:pt idx="27">
                  <c:v>3077.2196704219209</c:v>
                </c:pt>
                <c:pt idx="28">
                  <c:v>2955.5862714490099</c:v>
                </c:pt>
                <c:pt idx="29">
                  <c:v>2839.9348319144869</c:v>
                </c:pt>
                <c:pt idx="30">
                  <c:v>2732.10346607876</c:v>
                </c:pt>
                <c:pt idx="31">
                  <c:v>2633.35246177112</c:v>
                </c:pt>
                <c:pt idx="32">
                  <c:v>2540.551752215013</c:v>
                </c:pt>
                <c:pt idx="33">
                  <c:v>2449.1740378228578</c:v>
                </c:pt>
                <c:pt idx="34">
                  <c:v>2360.1849273521534</c:v>
                </c:pt>
                <c:pt idx="35">
                  <c:v>2275.2511719849117</c:v>
                </c:pt>
                <c:pt idx="36">
                  <c:v>2194.258388786292</c:v>
                </c:pt>
                <c:pt idx="37">
                  <c:v>2116.6627351154493</c:v>
                </c:pt>
                <c:pt idx="38">
                  <c:v>2042.9515595872015</c:v>
                </c:pt>
                <c:pt idx="39">
                  <c:v>1970.2953493518871</c:v>
                </c:pt>
                <c:pt idx="40">
                  <c:v>1897.0634869541934</c:v>
                </c:pt>
                <c:pt idx="41">
                  <c:v>1824.9247351924553</c:v>
                </c:pt>
                <c:pt idx="42">
                  <c:v>1754.7907487117839</c:v>
                </c:pt>
                <c:pt idx="43">
                  <c:v>1686.7083421517348</c:v>
                </c:pt>
                <c:pt idx="44">
                  <c:v>1620.6067054011924</c:v>
                </c:pt>
                <c:pt idx="45">
                  <c:v>1556.6621162826546</c:v>
                </c:pt>
                <c:pt idx="46">
                  <c:v>1494.0355870645158</c:v>
                </c:pt>
                <c:pt idx="47">
                  <c:v>1432.9246088612665</c:v>
                </c:pt>
                <c:pt idx="48">
                  <c:v>1373.8119577159287</c:v>
                </c:pt>
                <c:pt idx="49">
                  <c:v>1316.4471877094436</c:v>
                </c:pt>
                <c:pt idx="50">
                  <c:v>1260.9891522588109</c:v>
                </c:pt>
                <c:pt idx="51">
                  <c:v>1207.6336791951915</c:v>
                </c:pt>
                <c:pt idx="52">
                  <c:v>1156.3238758190832</c:v>
                </c:pt>
                <c:pt idx="53">
                  <c:v>1106.897264268491</c:v>
                </c:pt>
                <c:pt idx="54">
                  <c:v>1059.4860803266899</c:v>
                </c:pt>
                <c:pt idx="55">
                  <c:v>1013.9991227779407</c:v>
                </c:pt>
                <c:pt idx="56">
                  <c:v>970.44271130353286</c:v>
                </c:pt>
                <c:pt idx="57">
                  <c:v>928.65860034034324</c:v>
                </c:pt>
                <c:pt idx="58">
                  <c:v>888.69556964238325</c:v>
                </c:pt>
                <c:pt idx="59">
                  <c:v>850.74224116889354</c:v>
                </c:pt>
                <c:pt idx="60">
                  <c:v>814.52164048195823</c:v>
                </c:pt>
                <c:pt idx="61">
                  <c:v>779.76409245229718</c:v>
                </c:pt>
                <c:pt idx="62">
                  <c:v>746.72517186793277</c:v>
                </c:pt>
                <c:pt idx="63">
                  <c:v>715.21053311977357</c:v>
                </c:pt>
                <c:pt idx="64">
                  <c:v>685.17667078848353</c:v>
                </c:pt>
                <c:pt idx="65">
                  <c:v>656.62836264349608</c:v>
                </c:pt>
                <c:pt idx="66">
                  <c:v>629.4335894849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713-4D92-8453-985B04014EDD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26">
                  <c:v>3209.6219140195108</c:v>
                </c:pt>
                <c:pt idx="27">
                  <c:v>3091.0085414869964</c:v>
                </c:pt>
                <c:pt idx="28">
                  <c:v>2980.3540818820456</c:v>
                </c:pt>
                <c:pt idx="29">
                  <c:v>2876.961611497285</c:v>
                </c:pt>
                <c:pt idx="30">
                  <c:v>2783.0502642964243</c:v>
                </c:pt>
                <c:pt idx="31">
                  <c:v>2700.194568717438</c:v>
                </c:pt>
                <c:pt idx="32">
                  <c:v>2625.4197349263577</c:v>
                </c:pt>
                <c:pt idx="33">
                  <c:v>2554.201613979154</c:v>
                </c:pt>
                <c:pt idx="34">
                  <c:v>2486.5611454413179</c:v>
                </c:pt>
                <c:pt idx="35">
                  <c:v>2423.635294254158</c:v>
                </c:pt>
                <c:pt idx="36">
                  <c:v>2365.0519789864557</c:v>
                </c:pt>
                <c:pt idx="37">
                  <c:v>2310.3286390309413</c:v>
                </c:pt>
                <c:pt idx="38">
                  <c:v>2259.806093292555</c:v>
                </c:pt>
                <c:pt idx="39">
                  <c:v>2210.378852520163</c:v>
                </c:pt>
                <c:pt idx="40">
                  <c:v>2159.9943519202479</c:v>
                </c:pt>
                <c:pt idx="41">
                  <c:v>2109.9356679179787</c:v>
                </c:pt>
                <c:pt idx="42">
                  <c:v>2061.0538128697203</c:v>
                </c:pt>
                <c:pt idx="43">
                  <c:v>2013.3633653622264</c:v>
                </c:pt>
                <c:pt idx="44">
                  <c:v>1966.7121158292848</c:v>
                </c:pt>
                <c:pt idx="45">
                  <c:v>1921.1651402162188</c:v>
                </c:pt>
                <c:pt idx="46">
                  <c:v>1875.8471115395973</c:v>
                </c:pt>
                <c:pt idx="47">
                  <c:v>1830.8607353075622</c:v>
                </c:pt>
                <c:pt idx="48">
                  <c:v>1786.5672728670565</c:v>
                </c:pt>
                <c:pt idx="49">
                  <c:v>1742.8303399110137</c:v>
                </c:pt>
                <c:pt idx="50">
                  <c:v>1699.7785478348289</c:v>
                </c:pt>
                <c:pt idx="51">
                  <c:v>1657.6556533002299</c:v>
                </c:pt>
                <c:pt idx="52">
                  <c:v>1616.4169974469728</c:v>
                </c:pt>
                <c:pt idx="53">
                  <c:v>1575.915798128605</c:v>
                </c:pt>
                <c:pt idx="54">
                  <c:v>1536.3076941536942</c:v>
                </c:pt>
                <c:pt idx="55">
                  <c:v>1497.5676615609304</c:v>
                </c:pt>
                <c:pt idx="56">
                  <c:v>1459.744861688373</c:v>
                </c:pt>
                <c:pt idx="57">
                  <c:v>1422.7463503281542</c:v>
                </c:pt>
                <c:pt idx="58">
                  <c:v>1386.6489185797407</c:v>
                </c:pt>
                <c:pt idx="59">
                  <c:v>1351.7030146734514</c:v>
                </c:pt>
                <c:pt idx="60">
                  <c:v>1317.6626693873991</c:v>
                </c:pt>
                <c:pt idx="61">
                  <c:v>1284.3528369796909</c:v>
                </c:pt>
                <c:pt idx="62">
                  <c:v>1252.0197462564288</c:v>
                </c:pt>
                <c:pt idx="63">
                  <c:v>1220.554297300476</c:v>
                </c:pt>
                <c:pt idx="64">
                  <c:v>1189.9375680249441</c:v>
                </c:pt>
                <c:pt idx="65">
                  <c:v>1160.2231175764221</c:v>
                </c:pt>
                <c:pt idx="66">
                  <c:v>1131.29086002140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713-4D92-8453-985B04014EDD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26">
                  <c:v>3214.6338131957727</c:v>
                </c:pt>
                <c:pt idx="27">
                  <c:v>3104.7520786012524</c:v>
                </c:pt>
                <c:pt idx="28">
                  <c:v>3005.0747498697197</c:v>
                </c:pt>
                <c:pt idx="29">
                  <c:v>2913.9401352291175</c:v>
                </c:pt>
                <c:pt idx="30">
                  <c:v>2834.1775003189969</c:v>
                </c:pt>
                <c:pt idx="31">
                  <c:v>2767.8711607479554</c:v>
                </c:pt>
                <c:pt idx="32">
                  <c:v>2712.3553903458114</c:v>
                </c:pt>
                <c:pt idx="33">
                  <c:v>2663.1450237682957</c:v>
                </c:pt>
                <c:pt idx="34">
                  <c:v>2619.2169341146027</c:v>
                </c:pt>
                <c:pt idx="35">
                  <c:v>2581.1281385232473</c:v>
                </c:pt>
                <c:pt idx="36">
                  <c:v>2548.472863850302</c:v>
                </c:pt>
                <c:pt idx="37">
                  <c:v>2521.020149201373</c:v>
                </c:pt>
                <c:pt idx="38">
                  <c:v>2498.9119198215394</c:v>
                </c:pt>
                <c:pt idx="39">
                  <c:v>2478.7040070055532</c:v>
                </c:pt>
                <c:pt idx="40">
                  <c:v>2458.0042982679274</c:v>
                </c:pt>
                <c:pt idx="41">
                  <c:v>2437.6617274036662</c:v>
                </c:pt>
                <c:pt idx="42">
                  <c:v>2418.3563774076738</c:v>
                </c:pt>
                <c:pt idx="43">
                  <c:v>2400.1756590679183</c:v>
                </c:pt>
                <c:pt idx="44">
                  <c:v>2382.9820861626063</c:v>
                </c:pt>
                <c:pt idx="45">
                  <c:v>2366.6273779137337</c:v>
                </c:pt>
                <c:pt idx="46">
                  <c:v>2349.9490839422606</c:v>
                </c:pt>
                <c:pt idx="47">
                  <c:v>2332.9451007056923</c:v>
                </c:pt>
                <c:pt idx="48">
                  <c:v>2316.0028950792648</c:v>
                </c:pt>
                <c:pt idx="49">
                  <c:v>2298.9003343999448</c:v>
                </c:pt>
                <c:pt idx="50">
                  <c:v>2281.8183226421729</c:v>
                </c:pt>
                <c:pt idx="51">
                  <c:v>2264.9054385746849</c:v>
                </c:pt>
                <c:pt idx="52">
                  <c:v>2248.0974333529884</c:v>
                </c:pt>
                <c:pt idx="53">
                  <c:v>2231.1865007900933</c:v>
                </c:pt>
                <c:pt idx="54">
                  <c:v>2214.3112420866032</c:v>
                </c:pt>
                <c:pt idx="55">
                  <c:v>2197.5517515094912</c:v>
                </c:pt>
                <c:pt idx="56">
                  <c:v>2180.9052104322154</c:v>
                </c:pt>
                <c:pt idx="57">
                  <c:v>2164.2673000043969</c:v>
                </c:pt>
                <c:pt idx="58">
                  <c:v>2147.7793628361055</c:v>
                </c:pt>
                <c:pt idx="59">
                  <c:v>2131.5843795711021</c:v>
                </c:pt>
                <c:pt idx="60">
                  <c:v>2115.536709809784</c:v>
                </c:pt>
                <c:pt idx="61">
                  <c:v>2099.4441694610086</c:v>
                </c:pt>
                <c:pt idx="62">
                  <c:v>2083.5851455955426</c:v>
                </c:pt>
                <c:pt idx="63">
                  <c:v>2067.8526586727457</c:v>
                </c:pt>
                <c:pt idx="64">
                  <c:v>2052.2294007331852</c:v>
                </c:pt>
                <c:pt idx="65">
                  <c:v>2036.843996821548</c:v>
                </c:pt>
                <c:pt idx="66">
                  <c:v>2021.54951410195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713-4D92-8453-985B04014EDD}"/>
            </c:ext>
          </c:extLst>
        </c:ser>
        <c:ser>
          <c:idx val="4"/>
          <c:order val="3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87</c:v>
                </c:pt>
                <c:pt idx="1">
                  <c:v>44288</c:v>
                </c:pt>
                <c:pt idx="2">
                  <c:v>44289</c:v>
                </c:pt>
                <c:pt idx="3">
                  <c:v>44290</c:v>
                </c:pt>
                <c:pt idx="4">
                  <c:v>44291</c:v>
                </c:pt>
                <c:pt idx="5">
                  <c:v>44292</c:v>
                </c:pt>
                <c:pt idx="6">
                  <c:v>44293</c:v>
                </c:pt>
                <c:pt idx="7">
                  <c:v>44294</c:v>
                </c:pt>
                <c:pt idx="8">
                  <c:v>44295</c:v>
                </c:pt>
                <c:pt idx="9">
                  <c:v>44296</c:v>
                </c:pt>
                <c:pt idx="10">
                  <c:v>44297</c:v>
                </c:pt>
                <c:pt idx="11">
                  <c:v>44298</c:v>
                </c:pt>
                <c:pt idx="12">
                  <c:v>44299</c:v>
                </c:pt>
                <c:pt idx="13">
                  <c:v>44300</c:v>
                </c:pt>
                <c:pt idx="14">
                  <c:v>44301</c:v>
                </c:pt>
                <c:pt idx="15">
                  <c:v>44302</c:v>
                </c:pt>
                <c:pt idx="16">
                  <c:v>44303</c:v>
                </c:pt>
                <c:pt idx="17">
                  <c:v>44304</c:v>
                </c:pt>
                <c:pt idx="18">
                  <c:v>44305</c:v>
                </c:pt>
                <c:pt idx="19">
                  <c:v>44306</c:v>
                </c:pt>
                <c:pt idx="20">
                  <c:v>44307</c:v>
                </c:pt>
                <c:pt idx="21">
                  <c:v>44308</c:v>
                </c:pt>
                <c:pt idx="22">
                  <c:v>44309</c:v>
                </c:pt>
                <c:pt idx="23">
                  <c:v>44310</c:v>
                </c:pt>
                <c:pt idx="24">
                  <c:v>44311</c:v>
                </c:pt>
                <c:pt idx="25">
                  <c:v>44312</c:v>
                </c:pt>
                <c:pt idx="26">
                  <c:v>44313</c:v>
                </c:pt>
                <c:pt idx="27">
                  <c:v>44314</c:v>
                </c:pt>
                <c:pt idx="28">
                  <c:v>44315</c:v>
                </c:pt>
                <c:pt idx="29">
                  <c:v>44316</c:v>
                </c:pt>
                <c:pt idx="30">
                  <c:v>44317</c:v>
                </c:pt>
                <c:pt idx="31">
                  <c:v>44318</c:v>
                </c:pt>
                <c:pt idx="32">
                  <c:v>44319</c:v>
                </c:pt>
                <c:pt idx="33">
                  <c:v>44320</c:v>
                </c:pt>
                <c:pt idx="34">
                  <c:v>44321</c:v>
                </c:pt>
                <c:pt idx="35">
                  <c:v>44322</c:v>
                </c:pt>
                <c:pt idx="36">
                  <c:v>44323</c:v>
                </c:pt>
                <c:pt idx="37">
                  <c:v>44324</c:v>
                </c:pt>
                <c:pt idx="38">
                  <c:v>44325</c:v>
                </c:pt>
                <c:pt idx="39">
                  <c:v>44326</c:v>
                </c:pt>
                <c:pt idx="40">
                  <c:v>44327</c:v>
                </c:pt>
                <c:pt idx="41">
                  <c:v>44328</c:v>
                </c:pt>
                <c:pt idx="42">
                  <c:v>44329</c:v>
                </c:pt>
                <c:pt idx="43">
                  <c:v>44330</c:v>
                </c:pt>
                <c:pt idx="44">
                  <c:v>44331</c:v>
                </c:pt>
                <c:pt idx="45">
                  <c:v>44332</c:v>
                </c:pt>
                <c:pt idx="46">
                  <c:v>44333</c:v>
                </c:pt>
                <c:pt idx="47">
                  <c:v>44334</c:v>
                </c:pt>
                <c:pt idx="48">
                  <c:v>44335</c:v>
                </c:pt>
                <c:pt idx="49">
                  <c:v>44336</c:v>
                </c:pt>
                <c:pt idx="50">
                  <c:v>44337</c:v>
                </c:pt>
                <c:pt idx="51">
                  <c:v>44338</c:v>
                </c:pt>
                <c:pt idx="52">
                  <c:v>44339</c:v>
                </c:pt>
                <c:pt idx="53">
                  <c:v>44340</c:v>
                </c:pt>
                <c:pt idx="54">
                  <c:v>44341</c:v>
                </c:pt>
                <c:pt idx="55">
                  <c:v>44342</c:v>
                </c:pt>
                <c:pt idx="56">
                  <c:v>44343</c:v>
                </c:pt>
                <c:pt idx="57">
                  <c:v>44344</c:v>
                </c:pt>
                <c:pt idx="58">
                  <c:v>44345</c:v>
                </c:pt>
                <c:pt idx="59">
                  <c:v>44346</c:v>
                </c:pt>
                <c:pt idx="60">
                  <c:v>44347</c:v>
                </c:pt>
                <c:pt idx="61">
                  <c:v>44348</c:v>
                </c:pt>
                <c:pt idx="62">
                  <c:v>44349</c:v>
                </c:pt>
                <c:pt idx="63">
                  <c:v>44350</c:v>
                </c:pt>
                <c:pt idx="64">
                  <c:v>44351</c:v>
                </c:pt>
                <c:pt idx="65">
                  <c:v>44352</c:v>
                </c:pt>
                <c:pt idx="66">
                  <c:v>44353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9464</c:v>
                </c:pt>
                <c:pt idx="1">
                  <c:v>9464</c:v>
                </c:pt>
                <c:pt idx="2">
                  <c:v>9464</c:v>
                </c:pt>
                <c:pt idx="3">
                  <c:v>9464</c:v>
                </c:pt>
                <c:pt idx="4">
                  <c:v>9464</c:v>
                </c:pt>
                <c:pt idx="5">
                  <c:v>9464</c:v>
                </c:pt>
                <c:pt idx="6">
                  <c:v>9464</c:v>
                </c:pt>
                <c:pt idx="7">
                  <c:v>9464</c:v>
                </c:pt>
                <c:pt idx="8">
                  <c:v>9464</c:v>
                </c:pt>
                <c:pt idx="9">
                  <c:v>9464</c:v>
                </c:pt>
                <c:pt idx="10">
                  <c:v>9464</c:v>
                </c:pt>
                <c:pt idx="11">
                  <c:v>9464</c:v>
                </c:pt>
                <c:pt idx="12">
                  <c:v>9464</c:v>
                </c:pt>
                <c:pt idx="13">
                  <c:v>9464</c:v>
                </c:pt>
                <c:pt idx="14">
                  <c:v>9464</c:v>
                </c:pt>
                <c:pt idx="15">
                  <c:v>9464</c:v>
                </c:pt>
                <c:pt idx="16">
                  <c:v>9464</c:v>
                </c:pt>
                <c:pt idx="17">
                  <c:v>9464</c:v>
                </c:pt>
                <c:pt idx="18">
                  <c:v>9464</c:v>
                </c:pt>
                <c:pt idx="19">
                  <c:v>9464</c:v>
                </c:pt>
                <c:pt idx="20">
                  <c:v>9464</c:v>
                </c:pt>
                <c:pt idx="21">
                  <c:v>9464</c:v>
                </c:pt>
                <c:pt idx="22">
                  <c:v>9464</c:v>
                </c:pt>
                <c:pt idx="23">
                  <c:v>9464</c:v>
                </c:pt>
                <c:pt idx="24">
                  <c:v>9464</c:v>
                </c:pt>
                <c:pt idx="25">
                  <c:v>9464</c:v>
                </c:pt>
                <c:pt idx="26">
                  <c:v>9464</c:v>
                </c:pt>
                <c:pt idx="27">
                  <c:v>9464</c:v>
                </c:pt>
                <c:pt idx="28">
                  <c:v>9464</c:v>
                </c:pt>
                <c:pt idx="29">
                  <c:v>9464</c:v>
                </c:pt>
                <c:pt idx="30">
                  <c:v>9464</c:v>
                </c:pt>
                <c:pt idx="31">
                  <c:v>9464</c:v>
                </c:pt>
                <c:pt idx="32">
                  <c:v>9464</c:v>
                </c:pt>
                <c:pt idx="33">
                  <c:v>9464</c:v>
                </c:pt>
                <c:pt idx="34">
                  <c:v>9464</c:v>
                </c:pt>
                <c:pt idx="35">
                  <c:v>9464</c:v>
                </c:pt>
                <c:pt idx="36">
                  <c:v>9464</c:v>
                </c:pt>
                <c:pt idx="37">
                  <c:v>9464</c:v>
                </c:pt>
                <c:pt idx="38">
                  <c:v>9464</c:v>
                </c:pt>
                <c:pt idx="39">
                  <c:v>9464</c:v>
                </c:pt>
                <c:pt idx="40">
                  <c:v>9464</c:v>
                </c:pt>
                <c:pt idx="41">
                  <c:v>9464</c:v>
                </c:pt>
                <c:pt idx="42">
                  <c:v>9464</c:v>
                </c:pt>
                <c:pt idx="43">
                  <c:v>9464</c:v>
                </c:pt>
                <c:pt idx="44">
                  <c:v>9464</c:v>
                </c:pt>
                <c:pt idx="45">
                  <c:v>9464</c:v>
                </c:pt>
                <c:pt idx="46">
                  <c:v>9464</c:v>
                </c:pt>
                <c:pt idx="47">
                  <c:v>9464</c:v>
                </c:pt>
                <c:pt idx="48">
                  <c:v>9464</c:v>
                </c:pt>
                <c:pt idx="49">
                  <c:v>9464</c:v>
                </c:pt>
                <c:pt idx="50">
                  <c:v>9464</c:v>
                </c:pt>
                <c:pt idx="51">
                  <c:v>9464</c:v>
                </c:pt>
                <c:pt idx="52">
                  <c:v>9464</c:v>
                </c:pt>
                <c:pt idx="53">
                  <c:v>9464</c:v>
                </c:pt>
                <c:pt idx="54">
                  <c:v>9464</c:v>
                </c:pt>
                <c:pt idx="55">
                  <c:v>9464</c:v>
                </c:pt>
                <c:pt idx="56">
                  <c:v>9464</c:v>
                </c:pt>
                <c:pt idx="57">
                  <c:v>9464</c:v>
                </c:pt>
                <c:pt idx="58">
                  <c:v>9464</c:v>
                </c:pt>
                <c:pt idx="59">
                  <c:v>9464</c:v>
                </c:pt>
                <c:pt idx="60">
                  <c:v>9464</c:v>
                </c:pt>
                <c:pt idx="61">
                  <c:v>9464</c:v>
                </c:pt>
                <c:pt idx="62">
                  <c:v>9464</c:v>
                </c:pt>
                <c:pt idx="63">
                  <c:v>9464</c:v>
                </c:pt>
                <c:pt idx="64">
                  <c:v>9464</c:v>
                </c:pt>
                <c:pt idx="65">
                  <c:v>9464</c:v>
                </c:pt>
                <c:pt idx="66">
                  <c:v>94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713-4D92-8453-985B04014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706</cdr:x>
      <cdr:y>0.9369</cdr:y>
    </cdr:from>
    <cdr:to>
      <cdr:x>1</cdr:x>
      <cdr:y>0.98088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6296025" y="4667249"/>
          <a:ext cx="1409700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cs-CZ" sz="1200" b="1">
              <a:latin typeface="+mn-lt"/>
            </a:rPr>
            <a:t>Zdroj: ÚZI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5635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3764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5188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6180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2140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47297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64753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351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1.png"/><Relationship Id="rId4" Type="http://schemas.openxmlformats.org/officeDocument/2006/relationships/image" Target="../media/image7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sv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4.svg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11.png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NUL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4.png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11.png"/><Relationship Id="rId4" Type="http://schemas.openxmlformats.org/officeDocument/2006/relationships/image" Target="NUL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svg"/><Relationship Id="rId5" Type="http://schemas.openxmlformats.org/officeDocument/2006/relationships/image" Target="../media/image23.png"/><Relationship Id="rId4" Type="http://schemas.openxmlformats.org/officeDocument/2006/relationships/image" Target="../media/image5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.svg"/><Relationship Id="rId5" Type="http://schemas.openxmlformats.org/officeDocument/2006/relationships/image" Target="../media/image23.png"/><Relationship Id="rId4" Type="http://schemas.openxmlformats.org/officeDocument/2006/relationships/image" Target="../media/image5.sv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svg"/><Relationship Id="rId5" Type="http://schemas.openxmlformats.org/officeDocument/2006/relationships/image" Target="../media/image20.png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122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0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08817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97598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50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4920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298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7174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C5CD43-27A1-41A8-A512-01DFDF72E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9D6EDE5-5820-4DC6-94DA-D95C794B26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08B432-85BC-418F-A57C-253AFAA7F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B0D9402-2D8E-4FB9-8161-8D00119F8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2AECA71-E82F-4649-8A24-6636AFE63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8422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DB54BB-D77B-411B-80A8-BB36F39E0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74C4F0-4F0B-4C37-9EFE-6D33C4980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754D4C-9569-4644-BD5E-3F00E03CF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88293E-073F-4829-9267-A51A7ABC0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8175F46-C8C3-4B73-9A7E-9E6AFB39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598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5204B5-DA6E-4CCF-8869-93A591595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CA1BCD-781F-4E2C-83B5-1BD52A9D9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DA201BD-C892-4BFD-9C7E-602DA3004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62DFC0C-31CE-4594-AE22-75ACF9862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79E36E-5C1B-499E-A0E1-47EA5D2AA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4985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636ED-3604-40BB-81B1-33BFF7074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3DE2A32-280E-430F-89F0-02DD4ED6DE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60A0DD2-E959-4E7C-B84C-848CB1BAD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79809F5-B5D9-4823-98A8-869F2ACF0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9EA721-150E-4EB0-9ECF-FDE2E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88906D8-2AB6-402F-81B1-8E63583A1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22378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C5F3F2-E4F6-44D2-BC8D-3748A0189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87FE8-E5BA-4A5C-B0AF-5F8A194F3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E29BA68-3FF4-469C-9253-26B2C5CECA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8A24C8C-7565-4369-B063-AC35EDADBA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20FD93C-8945-45CC-8CDF-34EBF532A2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B778519-F60E-4E11-9FF6-BD84A3546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F5C35377-4A42-4DE0-A17A-C3340CADB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C2D2A8A-CA4B-4E54-9860-5C67E34E7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0768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55641E-5C1C-4BE3-B0F0-314BD78D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9F0F57D-01A1-43E4-98AA-935B2DB6E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C1C920E-6E2D-4E35-A596-F02A9BE0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A80E791-6BEA-40B1-8749-6A82AE9ED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2017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46D963F-18FA-4F4E-B2F8-1765691B6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9C04A24-2205-4108-BEEB-43B063A98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E34E1C0-8078-4D4A-A228-35D3572D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23450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E69380-9A73-474C-A071-8018E65EE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E42A117-78BD-4129-A892-24418F349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EA7F8D-C8DF-442B-90E1-19ED56C6B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2D6E94F-FFB6-48F8-B695-EB528B183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BC1A3F-79EC-4A2F-A39B-7796828C8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D9F211B-0AD3-43A4-B9E9-E4C6C877E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92148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1DA92-9D49-47F2-A05F-A578FFF8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EFC7390-5A75-4225-8766-B58E6A275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32CB42-591C-4FFB-AD05-9752AFF629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8D622D7-BFF7-4AF2-8F8B-21A06ADD4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F604F3D-AABB-471E-ACCC-F3A49E78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DC76618-CBA7-45DD-9E79-9D8BD1610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81712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29D1DB-75DA-485A-AB20-C869545EA9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C099284-889E-4490-825C-0BC746C23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EEE6E0C-15EB-49C5-B1EA-A3370D21F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D1ACFAE-E677-40F0-BA16-EA27C59C7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3CF5FB-35BC-42C4-B710-1801BEA23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36885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76EE0A7-C6D3-41EE-998F-37E80641B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8965B1C-45F0-4035-975C-1375F4ACA1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C10088C-D78F-4418-9E6B-832D4AC50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0ECDB32-A9A0-433B-AACF-943FAB23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A0D8614-1E95-47AF-98BF-68C5169A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87407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2161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3012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87257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91414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1686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0847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81133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51869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87687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22320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624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26846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30015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7285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7522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876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05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03.05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49657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4B21331-3533-4DCA-902D-340C5FDCB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50E7000-6EE4-4239-B7E3-AAC3A0194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7F4975-1139-46DC-ACC7-2B69CDCAD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909051-5E68-48C3-980E-E7BADE00A9DF}" type="datetimeFigureOut">
              <a:rPr lang="cs-CZ" smtClean="0"/>
              <a:t>03.05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6383B7-2D40-461F-8979-4123BD7D17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5E63E90-A2FF-4D88-ABBB-721BE3972A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37822-2D11-4618-8F77-D81A903B69A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81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5901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539291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7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chart" Target="../charts/chart9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10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2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4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chart" Target="../charts/chart12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3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chart" Target="../charts/chart13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3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chart" Target="../charts/chart14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4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chart" Target="../charts/chart15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28910"/>
            <a:ext cx="11905307" cy="2236911"/>
          </a:xfrm>
        </p:spPr>
        <p:txBody>
          <a:bodyPr>
            <a:normAutofit fontScale="85000" lnSpcReduction="20000"/>
          </a:bodyPr>
          <a:lstStyle/>
          <a:p>
            <a:r>
              <a:rPr lang="cs-CZ" sz="5200" b="1" dirty="0" smtClean="0"/>
              <a:t>Zhodnocení predikcí vývoje </a:t>
            </a:r>
            <a:r>
              <a:rPr lang="cs-CZ" sz="5200" b="1" dirty="0"/>
              <a:t>epidemie </a:t>
            </a:r>
          </a:p>
          <a:p>
            <a:r>
              <a:rPr lang="cs-CZ" sz="5200" b="1" dirty="0"/>
              <a:t>ve vazbě na přijatá opatření </a:t>
            </a:r>
          </a:p>
          <a:p>
            <a:r>
              <a:rPr lang="cs-CZ" sz="4200" i="1" dirty="0" smtClean="0"/>
              <a:t>Modely vybudované k 5.3. 2021 a 10.4. 2021</a:t>
            </a:r>
          </a:p>
          <a:p>
            <a:r>
              <a:rPr lang="cs-CZ" sz="4200" i="1" dirty="0" smtClean="0"/>
              <a:t>- doplnění </a:t>
            </a:r>
            <a:r>
              <a:rPr lang="cs-CZ" sz="4200" i="1" dirty="0"/>
              <a:t>dat </a:t>
            </a:r>
            <a:r>
              <a:rPr lang="cs-CZ" sz="4200" i="1" dirty="0" smtClean="0"/>
              <a:t>k </a:t>
            </a:r>
            <a:r>
              <a:rPr lang="cs-CZ" sz="4200" i="1" dirty="0" smtClean="0"/>
              <a:t>3.5. </a:t>
            </a:r>
            <a:r>
              <a:rPr lang="cs-CZ" sz="4200" i="1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3007466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78CE99E8-20CF-420D-A180-11DF92E322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329" y="1528819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3769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2888098"/>
            <a:ext cx="11802358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4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. to dokládá i simulace možného dopadu rozvolnění, která zakalkulovala částečný návrat dětí do ško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izikové navýšení kontaktů v populaci</a:t>
            </a:r>
            <a:endParaRPr kumimoji="0" lang="cs-CZ" sz="3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75831" y="3205077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kern="0" dirty="0" smtClean="0">
                <a:solidFill>
                  <a:prstClr val="black"/>
                </a:solidFill>
                <a:latin typeface="Calibri" panose="020F0502020204030204"/>
              </a:rPr>
              <a:t>Opatrné uvolňování, většinové dodržová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kern="0" dirty="0" smtClean="0">
                <a:solidFill>
                  <a:prstClr val="black"/>
                </a:solidFill>
                <a:latin typeface="Calibri" panose="020F0502020204030204"/>
              </a:rPr>
              <a:t>a postupující vakcinace vedou k rychlému zpomalování epidemie. Efekt změn o 12.4. ze zatím negativně nijak neprojevil. Přesto má epidemie populačně stále potenciá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kern="0" dirty="0" smtClean="0">
                <a:solidFill>
                  <a:prstClr val="black"/>
                </a:solidFill>
                <a:latin typeface="Calibri" panose="020F0502020204030204"/>
              </a:rPr>
              <a:t>k dalšímu růstu.</a:t>
            </a:r>
            <a:endParaRPr kumimoji="0" lang="cs-CZ" sz="3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151252" y="6048186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7941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ECDE100A-345D-46DB-BFB5-D7A28508D2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509" y="1526240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7" name="TextovéPole 16"/>
          <p:cNvSpPr txBox="1"/>
          <p:nvPr/>
        </p:nvSpPr>
        <p:spPr>
          <a:xfrm>
            <a:off x="7213905" y="3389882"/>
            <a:ext cx="508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4309402" y="2140210"/>
            <a:ext cx="34125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solidFill>
                  <a:srgbClr val="C00000"/>
                </a:solidFill>
              </a:rPr>
              <a:t>Možný negativní dopad rozvolňování se zatím neprojevil, epidemie rychle zpomaluje.  </a:t>
            </a:r>
            <a:endParaRPr lang="cs-CZ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6969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BCCB4AB9-98D1-45C5-B002-73B8B8AA6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247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9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17" name="TextovéPole 16"/>
          <p:cNvSpPr txBox="1"/>
          <p:nvPr/>
        </p:nvSpPr>
        <p:spPr>
          <a:xfrm>
            <a:off x="7213905" y="3389882"/>
            <a:ext cx="508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4309402" y="2140210"/>
            <a:ext cx="34125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solidFill>
                  <a:srgbClr val="C00000"/>
                </a:solidFill>
              </a:rPr>
              <a:t>Možný negativní dopad rozvolňování se zatím neprojevil, epidemie rychle zpomaluje.  </a:t>
            </a:r>
            <a:endParaRPr lang="cs-CZ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3888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275" y="3693109"/>
            <a:ext cx="11737724" cy="2238375"/>
          </a:xfrm>
        </p:spPr>
        <p:txBody>
          <a:bodyPr>
            <a:normAutofit/>
          </a:bodyPr>
          <a:lstStyle/>
          <a:p>
            <a:r>
              <a:rPr lang="cs-CZ" sz="5000" b="1" dirty="0"/>
              <a:t>Nové modely zahrnující i potenciální </a:t>
            </a:r>
          </a:p>
          <a:p>
            <a:r>
              <a:rPr lang="cs-CZ" sz="5000" b="1" dirty="0"/>
              <a:t>dopad postupující vakcinace </a:t>
            </a:r>
          </a:p>
        </p:txBody>
      </p:sp>
    </p:spTree>
    <p:extLst>
      <p:ext uri="{BB962C8B-B14F-4D97-AF65-F5344CB8AC3E}">
        <p14:creationId xmlns:p14="http://schemas.microsoft.com/office/powerpoint/2010/main" val="13728498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Šipka dolů 1"/>
          <p:cNvSpPr/>
          <p:nvPr/>
        </p:nvSpPr>
        <p:spPr>
          <a:xfrm>
            <a:off x="5475831" y="1932681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85656" y="5963344"/>
            <a:ext cx="1626932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195887" y="2472247"/>
            <a:ext cx="115376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 smtClean="0"/>
              <a:t>Model byl nově rozvinut a doplněn o komponentu Vakcinace (Model SEIRV) </a:t>
            </a:r>
          </a:p>
          <a:p>
            <a:pPr lvl="0" algn="ctr">
              <a:defRPr/>
            </a:pPr>
            <a:r>
              <a:rPr lang="cs-CZ" sz="2400" b="1" kern="0" dirty="0" smtClean="0"/>
              <a:t>– tedy stav po očkování, přičemž predikce pracují s rychlým efektem vakcinace (plná ochrana již s odstupem po 1. dávce) a s pomalejším efektem vakcinace (plná ochrana po druhé dávce)</a:t>
            </a:r>
            <a:endParaRPr lang="cs-CZ" sz="2400" b="1" kern="0" dirty="0"/>
          </a:p>
        </p:txBody>
      </p:sp>
      <p:sp>
        <p:nvSpPr>
          <p:cNvPr id="6" name="Obdélník 5"/>
          <p:cNvSpPr/>
          <p:nvPr/>
        </p:nvSpPr>
        <p:spPr>
          <a:xfrm>
            <a:off x="195887" y="4306382"/>
            <a:ext cx="11606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dirty="0"/>
              <a:t>Model uvažuje věkově specifické počty vakcinovaných</a:t>
            </a:r>
            <a:r>
              <a:rPr lang="en-US" dirty="0"/>
              <a:t> – </a:t>
            </a:r>
            <a:r>
              <a:rPr lang="en-US" dirty="0" err="1"/>
              <a:t>pozorovan</a:t>
            </a:r>
            <a:r>
              <a:rPr lang="cs-CZ" dirty="0" err="1"/>
              <a:t>ých</a:t>
            </a:r>
            <a:r>
              <a:rPr lang="cs-CZ" dirty="0"/>
              <a:t> dle ISIN a popsaná projekce počtu očkovaných pro budoucí </a:t>
            </a:r>
            <a:r>
              <a:rPr lang="cs-CZ" dirty="0" smtClean="0"/>
              <a:t>simulace. Jedinec </a:t>
            </a:r>
            <a:r>
              <a:rPr lang="cs-CZ" dirty="0"/>
              <a:t>dosáhne ochrany před </a:t>
            </a:r>
            <a:r>
              <a:rPr lang="cs-CZ" dirty="0" smtClean="0"/>
              <a:t>nákazou při </a:t>
            </a:r>
            <a:r>
              <a:rPr lang="cs-CZ" dirty="0"/>
              <a:t>druhé dávce (pomalý scénář</a:t>
            </a:r>
            <a:r>
              <a:rPr lang="cs-CZ" dirty="0" smtClean="0"/>
              <a:t>) nebo při </a:t>
            </a:r>
            <a:r>
              <a:rPr lang="cs-CZ" dirty="0"/>
              <a:t>první dávce (rychlý scénář</a:t>
            </a:r>
            <a:r>
              <a:rPr lang="cs-CZ" dirty="0" smtClean="0"/>
              <a:t>), přičemž </a:t>
            </a:r>
            <a:r>
              <a:rPr lang="cs-CZ" dirty="0"/>
              <a:t>se předpokládá i ochrana před možností přenášet </a:t>
            </a:r>
            <a:r>
              <a:rPr lang="cs-CZ" dirty="0" smtClean="0"/>
              <a:t>infekci. Jedinci </a:t>
            </a:r>
            <a:r>
              <a:rPr lang="cs-CZ" dirty="0"/>
              <a:t>přecházejí ze stavů S a R proporčně do stavu V (očkovaní jsou i jedinci s prodělanou infekcí v minulosti), </a:t>
            </a:r>
            <a:r>
              <a:rPr lang="cs-CZ" dirty="0" smtClean="0"/>
              <a:t>nepředpokládá </a:t>
            </a:r>
            <a:r>
              <a:rPr lang="cs-CZ" dirty="0"/>
              <a:t>se očkování jedinců aktuálně prodělávajících infekci</a:t>
            </a:r>
          </a:p>
        </p:txBody>
      </p:sp>
    </p:spTree>
    <p:extLst>
      <p:ext uri="{BB962C8B-B14F-4D97-AF65-F5344CB8AC3E}">
        <p14:creationId xmlns:p14="http://schemas.microsoft.com/office/powerpoint/2010/main" val="3112267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51570"/>
            <a:ext cx="9229366" cy="707886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éma stavového modelu SEIR</a:t>
            </a:r>
            <a:r>
              <a:rPr 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cs-CZ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 </a:t>
            </a:r>
            <a:r>
              <a:rPr lang="cs-C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louhodobé simulace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en-US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adem</a:t>
            </a: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cs-CZ" sz="2000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B04E69E-696B-426D-92D2-95AD65B197D7}"/>
              </a:ext>
            </a:extLst>
          </p:cNvPr>
          <p:cNvSpPr/>
          <p:nvPr/>
        </p:nvSpPr>
        <p:spPr>
          <a:xfrm>
            <a:off x="1082695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chylní jedinci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D063A768-01D3-4A56-8BBA-28DED35E1CE0}"/>
              </a:ext>
            </a:extLst>
          </p:cNvPr>
          <p:cNvSpPr/>
          <p:nvPr/>
        </p:nvSpPr>
        <p:spPr>
          <a:xfrm>
            <a:off x="3824400" y="2710392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novaní jedinci</a:t>
            </a: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BADCA929-8F51-4A46-84F0-4EE1E7912B1C}"/>
              </a:ext>
            </a:extLst>
          </p:cNvPr>
          <p:cNvSpPr/>
          <p:nvPr/>
        </p:nvSpPr>
        <p:spPr>
          <a:xfrm>
            <a:off x="6566105" y="1689064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znaky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6AD42F47-49DC-4AF9-9274-1EA0FEA16506}"/>
              </a:ext>
            </a:extLst>
          </p:cNvPr>
          <p:cNvSpPr/>
          <p:nvPr/>
        </p:nvSpPr>
        <p:spPr>
          <a:xfrm>
            <a:off x="9439289" y="2701427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zolovaní jedinci</a:t>
            </a:r>
          </a:p>
        </p:txBody>
      </p:sp>
      <p:sp>
        <p:nvSpPr>
          <p:cNvPr id="22" name="Šipka: doprava 44">
            <a:extLst>
              <a:ext uri="{FF2B5EF4-FFF2-40B4-BE49-F238E27FC236}">
                <a16:creationId xmlns:a16="http://schemas.microsoft.com/office/drawing/2014/main" id="{4C13D826-2505-4EE1-82AE-F4AB7726E1B5}"/>
              </a:ext>
            </a:extLst>
          </p:cNvPr>
          <p:cNvSpPr/>
          <p:nvPr/>
        </p:nvSpPr>
        <p:spPr>
          <a:xfrm>
            <a:off x="3134865" y="3033120"/>
            <a:ext cx="54684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B14B0F29-42EE-4449-8FA0-2FFCC0E7A5D6}"/>
              </a:ext>
            </a:extLst>
          </p:cNvPr>
          <p:cNvSpPr/>
          <p:nvPr/>
        </p:nvSpPr>
        <p:spPr>
          <a:xfrm>
            <a:off x="6566105" y="3736200"/>
            <a:ext cx="1909483" cy="1013010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cs-CZ" sz="2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í jedinci</a:t>
            </a:r>
            <a:b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příznakoví</a:t>
            </a:r>
          </a:p>
        </p:txBody>
      </p:sp>
      <p:sp>
        <p:nvSpPr>
          <p:cNvPr id="26" name="Šipka: doprava 46">
            <a:extLst>
              <a:ext uri="{FF2B5EF4-FFF2-40B4-BE49-F238E27FC236}">
                <a16:creationId xmlns:a16="http://schemas.microsoft.com/office/drawing/2014/main" id="{D213C4CF-884A-47FE-9932-16FB105C4037}"/>
              </a:ext>
            </a:extLst>
          </p:cNvPr>
          <p:cNvSpPr/>
          <p:nvPr/>
        </p:nvSpPr>
        <p:spPr>
          <a:xfrm>
            <a:off x="5827330" y="2015627"/>
            <a:ext cx="738776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Šipka: doprava 47">
            <a:extLst>
              <a:ext uri="{FF2B5EF4-FFF2-40B4-BE49-F238E27FC236}">
                <a16:creationId xmlns:a16="http://schemas.microsoft.com/office/drawing/2014/main" id="{608B85F7-5E22-4599-8F4E-6A61635A808E}"/>
              </a:ext>
            </a:extLst>
          </p:cNvPr>
          <p:cNvSpPr/>
          <p:nvPr/>
        </p:nvSpPr>
        <p:spPr>
          <a:xfrm>
            <a:off x="5827328" y="4055094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1F9FDF5-109A-473A-86F7-AE70B59EEBF0}"/>
              </a:ext>
            </a:extLst>
          </p:cNvPr>
          <p:cNvSpPr/>
          <p:nvPr/>
        </p:nvSpPr>
        <p:spPr>
          <a:xfrm>
            <a:off x="5827329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: doprava 49">
            <a:extLst>
              <a:ext uri="{FF2B5EF4-FFF2-40B4-BE49-F238E27FC236}">
                <a16:creationId xmlns:a16="http://schemas.microsoft.com/office/drawing/2014/main" id="{10587047-838E-48F4-9F92-8CBF3AB25FF0}"/>
              </a:ext>
            </a:extLst>
          </p:cNvPr>
          <p:cNvSpPr/>
          <p:nvPr/>
        </p:nvSpPr>
        <p:spPr>
          <a:xfrm>
            <a:off x="8610864" y="2990538"/>
            <a:ext cx="738777" cy="367553"/>
          </a:xfrm>
          <a:prstGeom prst="rightArrow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54974A4-DA60-4490-9AAD-3973AAACF2C2}"/>
              </a:ext>
            </a:extLst>
          </p:cNvPr>
          <p:cNvSpPr/>
          <p:nvPr/>
        </p:nvSpPr>
        <p:spPr>
          <a:xfrm>
            <a:off x="8610865" y="2118720"/>
            <a:ext cx="191929" cy="2214283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FE7E001D-0B75-40E0-AAE6-7132D90F7EA2}"/>
              </a:ext>
            </a:extLst>
          </p:cNvPr>
          <p:cNvSpPr txBox="1"/>
          <p:nvPr/>
        </p:nvSpPr>
        <p:spPr>
          <a:xfrm>
            <a:off x="729454" y="1430123"/>
            <a:ext cx="2935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čnost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nost kontakt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infekčních jedinců 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ci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9F44768C-5FDA-4214-A558-285F9A9BD9CE}"/>
              </a:ext>
            </a:extLst>
          </p:cNvPr>
          <p:cNvSpPr txBox="1"/>
          <p:nvPr/>
        </p:nvSpPr>
        <p:spPr>
          <a:xfrm>
            <a:off x="3487540" y="1663657"/>
            <a:ext cx="29351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latentního období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o nákaze, před infekčností)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F915E3A6-2C83-4C2A-9CE0-5284C9CD8F0D}"/>
              </a:ext>
            </a:extLst>
          </p:cNvPr>
          <p:cNvSpPr txBox="1"/>
          <p:nvPr/>
        </p:nvSpPr>
        <p:spPr>
          <a:xfrm>
            <a:off x="6326350" y="2755231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bezpříznakových jedinců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C9FA024-5E59-4474-9F8F-D201213190EE}"/>
              </a:ext>
            </a:extLst>
          </p:cNvPr>
          <p:cNvSpPr txBox="1"/>
          <p:nvPr/>
        </p:nvSpPr>
        <p:spPr>
          <a:xfrm>
            <a:off x="8762459" y="1707122"/>
            <a:ext cx="23248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lka infekčního období/rychlost izolace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03E6A01B-C785-4E5E-A264-0E817822A778}"/>
              </a:ext>
            </a:extLst>
          </p:cNvPr>
          <p:cNvSpPr txBox="1"/>
          <p:nvPr/>
        </p:nvSpPr>
        <p:spPr>
          <a:xfrm>
            <a:off x="6179868" y="932247"/>
            <a:ext cx="5074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ČÍTÁNÍ MEZI PŘÍPADY (JEN SYMPTOMATIČTÍ)</a:t>
            </a:r>
          </a:p>
        </p:txBody>
      </p:sp>
      <p:sp>
        <p:nvSpPr>
          <p:cNvPr id="38" name="Šipka: dolů 56">
            <a:extLst>
              <a:ext uri="{FF2B5EF4-FFF2-40B4-BE49-F238E27FC236}">
                <a16:creationId xmlns:a16="http://schemas.microsoft.com/office/drawing/2014/main" id="{782C6E6F-542D-452F-93BB-94B4C05288A8}"/>
              </a:ext>
            </a:extLst>
          </p:cNvPr>
          <p:cNvSpPr/>
          <p:nvPr/>
        </p:nvSpPr>
        <p:spPr>
          <a:xfrm>
            <a:off x="8509197" y="1339569"/>
            <a:ext cx="415367" cy="367553"/>
          </a:xfrm>
          <a:prstGeom prst="downArrow">
            <a:avLst/>
          </a:prstGeom>
          <a:solidFill>
            <a:srgbClr val="D311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DDCAC9A8-B998-4990-8433-32D07C5EAEB7}"/>
              </a:ext>
            </a:extLst>
          </p:cNvPr>
          <p:cNvSpPr/>
          <p:nvPr/>
        </p:nvSpPr>
        <p:spPr>
          <a:xfrm>
            <a:off x="9439289" y="4938026"/>
            <a:ext cx="1909483" cy="101301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kovaní jedinci</a:t>
            </a:r>
          </a:p>
        </p:txBody>
      </p:sp>
      <p:sp>
        <p:nvSpPr>
          <p:cNvPr id="40" name="Šipka: doprava 20">
            <a:extLst>
              <a:ext uri="{FF2B5EF4-FFF2-40B4-BE49-F238E27FC236}">
                <a16:creationId xmlns:a16="http://schemas.microsoft.com/office/drawing/2014/main" id="{A41BEF73-7A63-410D-95FD-7BD1E2D4B038}"/>
              </a:ext>
            </a:extLst>
          </p:cNvPr>
          <p:cNvSpPr/>
          <p:nvPr/>
        </p:nvSpPr>
        <p:spPr>
          <a:xfrm>
            <a:off x="1804832" y="5210447"/>
            <a:ext cx="7525177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Šipka: doprava 21">
            <a:extLst>
              <a:ext uri="{FF2B5EF4-FFF2-40B4-BE49-F238E27FC236}">
                <a16:creationId xmlns:a16="http://schemas.microsoft.com/office/drawing/2014/main" id="{31B8BC44-7A01-4824-9AED-DF040E9F9BA2}"/>
              </a:ext>
            </a:extLst>
          </p:cNvPr>
          <p:cNvSpPr/>
          <p:nvPr/>
        </p:nvSpPr>
        <p:spPr>
          <a:xfrm rot="5400000">
            <a:off x="9887524" y="4124044"/>
            <a:ext cx="1013009" cy="367553"/>
          </a:xfrm>
          <a:prstGeom prst="rightArrow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74FC45F5-50A9-43F3-8CE1-BEE500BD193E}"/>
              </a:ext>
            </a:extLst>
          </p:cNvPr>
          <p:cNvSpPr/>
          <p:nvPr/>
        </p:nvSpPr>
        <p:spPr>
          <a:xfrm>
            <a:off x="1800678" y="3801316"/>
            <a:ext cx="191929" cy="1672140"/>
          </a:xfrm>
          <a:prstGeom prst="rect">
            <a:avLst/>
          </a:prstGeom>
          <a:solidFill>
            <a:srgbClr val="33CC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59AD60A5-4AFD-463C-8D2A-104E5B3F5610}"/>
              </a:ext>
            </a:extLst>
          </p:cNvPr>
          <p:cNvSpPr txBox="1"/>
          <p:nvPr/>
        </p:nvSpPr>
        <p:spPr>
          <a:xfrm>
            <a:off x="2070275" y="4846884"/>
            <a:ext cx="2935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čkovaných jedinců</a:t>
            </a:r>
          </a:p>
        </p:txBody>
      </p:sp>
      <p:sp>
        <p:nvSpPr>
          <p:cNvPr id="44" name="Obdélník 43"/>
          <p:cNvSpPr/>
          <p:nvPr/>
        </p:nvSpPr>
        <p:spPr>
          <a:xfrm>
            <a:off x="246823" y="5965498"/>
            <a:ext cx="11537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sz="2400" b="1" kern="0" dirty="0" smtClean="0"/>
              <a:t>Aplikace nového modelu s vakcinací vysvětluje rychlejší zpomalování epidemie</a:t>
            </a:r>
            <a:endParaRPr lang="cs-CZ" sz="2400" b="1" kern="0" dirty="0"/>
          </a:p>
        </p:txBody>
      </p:sp>
      <p:sp>
        <p:nvSpPr>
          <p:cNvPr id="45" name="Šipka dolů 44"/>
          <p:cNvSpPr/>
          <p:nvPr/>
        </p:nvSpPr>
        <p:spPr>
          <a:xfrm>
            <a:off x="5109827" y="6434542"/>
            <a:ext cx="1626932" cy="28630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4813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AED91CF6-35FD-48DB-84C8-447C16CCC6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394" y="1529113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24445016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5BEAADAC-6C5E-4CD2-9B8D-AC40EF11F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714" y="1529332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V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ho rozvolnění 12.-19.4.2021, 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hrnutí vlivu očkování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19.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2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20 - 25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2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školní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n</a:t>
            </a:r>
            <a:r>
              <a:rPr kumimoji="0" lang="cs-CZ" sz="1600" b="1" i="0" u="none" strike="noStrike" kern="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ní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d 19.4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pracovních/jiných kontaktů na 3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 DNY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006972F-DFB3-4559-816B-3ADA61240E58}"/>
              </a:ext>
            </a:extLst>
          </p:cNvPr>
          <p:cNvSpPr txBox="1"/>
          <p:nvPr/>
        </p:nvSpPr>
        <p:spPr>
          <a:xfrm>
            <a:off x="8443609" y="6056343"/>
            <a:ext cx="3501957" cy="64633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Ý SCÉNÁŘ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unita od data první dávky</a:t>
            </a:r>
          </a:p>
        </p:txBody>
      </p:sp>
    </p:spTree>
    <p:extLst>
      <p:ext uri="{BB962C8B-B14F-4D97-AF65-F5344CB8AC3E}">
        <p14:creationId xmlns:p14="http://schemas.microsoft.com/office/powerpoint/2010/main" val="17328943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/>
        </p:nvSpPr>
        <p:spPr>
          <a:xfrm>
            <a:off x="143226" y="3337295"/>
            <a:ext cx="1173783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a vývoj epidemie dosud potvrzují, že rozvolnění po 12.4. se na vývoji epidemie neprojevilo, situace začíná být stabilní. Pokud i další kroky budou pozvolné a uvážené, lze i v důsledku postupující vakcinace očekávat, že 7denní incidence klesne celorepublikově pod hranici 100 případů / 100 tis. obyv. v první polovině května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5236288" y="1345020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257889" y="152401"/>
            <a:ext cx="11508509" cy="30561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é</a:t>
            </a:r>
            <a:r>
              <a:rPr kumimoji="0" lang="cs-CZ" sz="3400" b="1" i="0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ce založené na modelu SEIR(V) byly promítnuty do tří scénářů možného vývoje</a:t>
            </a:r>
            <a:endParaRPr kumimoji="0" lang="cs-CZ" sz="3400" b="1" i="0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4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.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malé brždění</a:t>
            </a:r>
            <a:r>
              <a:rPr kumimoji="0" lang="cs-CZ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e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vlivu vakcinac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.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chlé brždění epidemie v důsledku efektu přijatých opatření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volňování 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ubnu bez dopadu na růst epidemie a vliv postupující vakcinace</a:t>
            </a:r>
            <a:endParaRPr kumimoji="0" lang="cs-CZ" sz="24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236288" y="5904095"/>
            <a:ext cx="1551709" cy="39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70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43938"/>
            <a:ext cx="12048654" cy="2140532"/>
          </a:xfrm>
        </p:spPr>
        <p:txBody>
          <a:bodyPr>
            <a:normAutofit lnSpcReduction="10000"/>
          </a:bodyPr>
          <a:lstStyle/>
          <a:p>
            <a:r>
              <a:rPr lang="cs-CZ" sz="5200" b="1" dirty="0" smtClean="0"/>
              <a:t>Vývoj epidemie v populačních datech</a:t>
            </a:r>
            <a:endParaRPr lang="cs-CZ" sz="5200" b="1" dirty="0"/>
          </a:p>
          <a:p>
            <a:r>
              <a:rPr lang="cs-CZ" sz="4000" i="1" dirty="0" smtClean="0"/>
              <a:t>Modely doplněné o reálné počty zachycených případů</a:t>
            </a:r>
          </a:p>
          <a:p>
            <a:r>
              <a:rPr lang="cs-CZ" sz="4000" i="1" dirty="0" smtClean="0"/>
              <a:t>(uzavřené hodnocení k </a:t>
            </a:r>
            <a:r>
              <a:rPr lang="cs-CZ" sz="4000" i="1" dirty="0" smtClean="0"/>
              <a:t>3. 5. </a:t>
            </a:r>
            <a:r>
              <a:rPr lang="cs-CZ" sz="4000" i="1" dirty="0" smtClean="0"/>
              <a:t>2021)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229739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3186997"/>
          </a:xfrm>
        </p:spPr>
        <p:txBody>
          <a:bodyPr>
            <a:normAutofit fontScale="92500" lnSpcReduction="10000"/>
          </a:bodyPr>
          <a:lstStyle/>
          <a:p>
            <a:r>
              <a:rPr lang="cs-CZ" sz="2400" b="1" dirty="0"/>
              <a:t>Scénáře dlouhodobých simulací z 5. 3. </a:t>
            </a:r>
            <a:r>
              <a:rPr lang="cs-CZ" sz="2400" b="1" dirty="0" smtClean="0"/>
              <a:t>2021</a:t>
            </a:r>
          </a:p>
          <a:p>
            <a:endParaRPr lang="cs-CZ" sz="2400" b="1" dirty="0" smtClean="0"/>
          </a:p>
          <a:p>
            <a:endParaRPr lang="cs-CZ" sz="2400" b="1" dirty="0"/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</a:t>
            </a:r>
            <a:r>
              <a:rPr lang="cs-CZ" sz="2000" dirty="0" smtClean="0"/>
              <a:t>%</a:t>
            </a:r>
          </a:p>
          <a:p>
            <a:pPr lvl="1"/>
            <a:endParaRPr lang="cs-CZ" sz="2000" dirty="0"/>
          </a:p>
          <a:p>
            <a:pPr lvl="1"/>
            <a:endParaRPr lang="cs-CZ" sz="2000" dirty="0"/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3.: snížení pracovních kontaktů na 20 %, školní kontakty na 0 %, snížení jiných kontaktů na 20 %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1184190" y="3361822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1184191" y="2160610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pouze částečné udržení opatření a pomalé zpomalování </a:t>
            </a:r>
          </a:p>
        </p:txBody>
      </p:sp>
    </p:spTree>
    <p:extLst>
      <p:ext uri="{BB962C8B-B14F-4D97-AF65-F5344CB8AC3E}">
        <p14:creationId xmlns:p14="http://schemas.microsoft.com/office/powerpoint/2010/main" val="37596047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 z 5. 3. 2021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916139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385595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800958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227760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/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ovéPole 59">
            <a:extLst>
              <a:ext uri="{FF2B5EF4-FFF2-40B4-BE49-F238E27FC236}">
                <a16:creationId xmlns:a16="http://schemas.microsoft.com/office/drawing/2014/main" id="{D617B260-2959-49F6-A96B-910DA678C668}"/>
              </a:ext>
            </a:extLst>
          </p:cNvPr>
          <p:cNvSpPr txBox="1"/>
          <p:nvPr/>
        </p:nvSpPr>
        <p:spPr>
          <a:xfrm>
            <a:off x="8456840" y="3383167"/>
            <a:ext cx="3329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</a:t>
            </a:r>
          </a:p>
        </p:txBody>
      </p:sp>
      <p:cxnSp>
        <p:nvCxnSpPr>
          <p:cNvPr id="61" name="Přímá spojnice 60">
            <a:extLst>
              <a:ext uri="{FF2B5EF4-FFF2-40B4-BE49-F238E27FC236}">
                <a16:creationId xmlns:a16="http://schemas.microsoft.com/office/drawing/2014/main" id="{A1249C80-BFB2-40C2-AF2B-7672FDA1BE4E}"/>
              </a:ext>
            </a:extLst>
          </p:cNvPr>
          <p:cNvCxnSpPr>
            <a:cxnSpLocks/>
          </p:cNvCxnSpPr>
          <p:nvPr/>
        </p:nvCxnSpPr>
        <p:spPr>
          <a:xfrm>
            <a:off x="8152951" y="3535444"/>
            <a:ext cx="237744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3836575"/>
            <a:ext cx="237744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654368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5" name="TextovéPole 64">
            <a:extLst>
              <a:ext uri="{FF2B5EF4-FFF2-40B4-BE49-F238E27FC236}">
                <a16:creationId xmlns:a16="http://schemas.microsoft.com/office/drawing/2014/main" id="{B21BAD46-7FFA-4099-88CF-9B8E5DBF5FEB}"/>
              </a:ext>
            </a:extLst>
          </p:cNvPr>
          <p:cNvSpPr txBox="1"/>
          <p:nvPr/>
        </p:nvSpPr>
        <p:spPr>
          <a:xfrm>
            <a:off x="3174357" y="614707"/>
            <a:ext cx="6642503" cy="369332"/>
          </a:xfrm>
          <a:prstGeom prst="rect">
            <a:avLst/>
          </a:prstGeom>
          <a:solidFill>
            <a:srgbClr val="305983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: pouze částečné udržení opatření a pomalé zpomalování </a:t>
            </a: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955824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920056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950618"/>
            <a:ext cx="19639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B/C ze dne 5. 3. 2021)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381739" y="1837099"/>
            <a:ext cx="9246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 zřejmé, že i při předpokládaném významném zpomalování epidemie je pokles zátěže dlouhodobý. Reálná data avšak ukazují na rychlejší pokles zátěže než odpovídá nastavenému scénáři. Do tohoto trendu se již může promítat postupující vakcinace. </a:t>
            </a:r>
          </a:p>
        </p:txBody>
      </p:sp>
    </p:spTree>
    <p:extLst>
      <p:ext uri="{BB962C8B-B14F-4D97-AF65-F5344CB8AC3E}">
        <p14:creationId xmlns:p14="http://schemas.microsoft.com/office/powerpoint/2010/main" val="38450354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FFEC489-9795-4E1E-9719-513139DA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cénáře pro dlouhodobé simulace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8"/>
            <a:ext cx="11487705" cy="1860222"/>
          </a:xfrm>
        </p:spPr>
        <p:txBody>
          <a:bodyPr>
            <a:normAutofit/>
          </a:bodyPr>
          <a:lstStyle/>
          <a:p>
            <a:r>
              <a:rPr lang="cs-CZ" sz="2400" b="1" dirty="0"/>
              <a:t>Scénáře dlouhodobých simulací z 5. 3. 2021</a:t>
            </a:r>
          </a:p>
          <a:p>
            <a:pPr lvl="1"/>
            <a:r>
              <a:rPr lang="cs-CZ" sz="2000" b="1" dirty="0"/>
              <a:t>Scénář I: </a:t>
            </a:r>
            <a:r>
              <a:rPr lang="cs-CZ" sz="2000" dirty="0"/>
              <a:t>Efekt opatření částečně od 19. 2. a zejména od 1. 3.: snížení pracovních kontaktů na 30 %, školní kontakty na 0 %, snížení jiných kontaktů na 30 %</a:t>
            </a:r>
          </a:p>
          <a:p>
            <a:pPr lvl="1"/>
            <a:r>
              <a:rPr lang="cs-CZ" sz="2000" b="1" dirty="0"/>
              <a:t>Scénář II: </a:t>
            </a:r>
            <a:r>
              <a:rPr lang="cs-CZ" sz="2000" dirty="0"/>
              <a:t>Silný efekt opatření částečně od 19. 2. a zejména od 1. 3.: snížení pracovních kontaktů na 20 %, školní kontakty na 0 %, snížení jiných kontaktů na 20 %</a:t>
            </a:r>
          </a:p>
        </p:txBody>
      </p:sp>
      <p:sp>
        <p:nvSpPr>
          <p:cNvPr id="2" name="Šipka dolů 1"/>
          <p:cNvSpPr/>
          <p:nvPr/>
        </p:nvSpPr>
        <p:spPr>
          <a:xfrm>
            <a:off x="1201271" y="3325906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Zástupný obsah 3">
            <a:extLst>
              <a:ext uri="{FF2B5EF4-FFF2-40B4-BE49-F238E27FC236}">
                <a16:creationId xmlns:a16="http://schemas.microsoft.com/office/drawing/2014/main" id="{CEDB038B-E842-4D28-86E5-FAD860403CDD}"/>
              </a:ext>
            </a:extLst>
          </p:cNvPr>
          <p:cNvSpPr txBox="1">
            <a:spLocks/>
          </p:cNvSpPr>
          <p:nvPr/>
        </p:nvSpPr>
        <p:spPr>
          <a:xfrm>
            <a:off x="381738" y="4110273"/>
            <a:ext cx="11487705" cy="186022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D31145"/>
              </a:buClr>
              <a:buFont typeface="Arial" panose="020B0604020202020204" pitchFamily="34" charset="0"/>
              <a:buChar char="̶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énář II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ředpokládá rychlý pokles virové nálože v populaci a opatrné uvolňování opatření v dubnu, bez negativního vlivu na vývoj epidemie. K tomuto scénáři byl pro nerizikový vývoj modelově doplněn rychlý efekt postupující vakcinace, u kterého je předpokládána ochrana očkované osoby již za 14 dní po 1. dávce vakcíny.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→ tento efekt je modelován ve S</a:t>
            </a:r>
            <a:r>
              <a:rPr kumimoji="0" lang="cs-CZ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énáři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a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D3114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Šipka dolů 5"/>
          <p:cNvSpPr/>
          <p:nvPr/>
        </p:nvSpPr>
        <p:spPr>
          <a:xfrm>
            <a:off x="1201270" y="5731467"/>
            <a:ext cx="1416423" cy="5558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2995062" y="5601163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</p:spTree>
    <p:extLst>
      <p:ext uri="{BB962C8B-B14F-4D97-AF65-F5344CB8AC3E}">
        <p14:creationId xmlns:p14="http://schemas.microsoft.com/office/powerpoint/2010/main" val="25788943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Scénáře dlouhodobých simulací</a:t>
            </a:r>
            <a:endParaRPr lang="cs-CZ" sz="2400" dirty="0">
              <a:latin typeface="+mj-lt"/>
            </a:endParaRP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D4CEFD9C-3B06-416C-AB13-5153476AA83F}"/>
              </a:ext>
            </a:extLst>
          </p:cNvPr>
          <p:cNvSpPr txBox="1"/>
          <p:nvPr/>
        </p:nvSpPr>
        <p:spPr>
          <a:xfrm>
            <a:off x="202606" y="972698"/>
            <a:ext cx="2219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B465D225-9F63-4054-8EF6-ACEB098FE1B3}"/>
              </a:ext>
            </a:extLst>
          </p:cNvPr>
          <p:cNvSpPr txBox="1"/>
          <p:nvPr/>
        </p:nvSpPr>
        <p:spPr>
          <a:xfrm>
            <a:off x="3174357" y="1442154"/>
            <a:ext cx="6642503" cy="3693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efektu dubnového uvolněn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+ rychlý efekt vakcinace </a:t>
            </a:r>
          </a:p>
        </p:txBody>
      </p:sp>
      <p:cxnSp>
        <p:nvCxnSpPr>
          <p:cNvPr id="56" name="Přímá spojnice se šipkou 55">
            <a:extLst>
              <a:ext uri="{FF2B5EF4-FFF2-40B4-BE49-F238E27FC236}">
                <a16:creationId xmlns:a16="http://schemas.microsoft.com/office/drawing/2014/main" id="{50DE1626-F284-4D84-BDAB-EF119447AE2F}"/>
              </a:ext>
            </a:extLst>
          </p:cNvPr>
          <p:cNvCxnSpPr>
            <a:cxnSpLocks/>
          </p:cNvCxnSpPr>
          <p:nvPr/>
        </p:nvCxnSpPr>
        <p:spPr>
          <a:xfrm flipV="1">
            <a:off x="2536182" y="857517"/>
            <a:ext cx="523875" cy="3573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Přímá spojnice se šipkou 56">
            <a:extLst>
              <a:ext uri="{FF2B5EF4-FFF2-40B4-BE49-F238E27FC236}">
                <a16:creationId xmlns:a16="http://schemas.microsoft.com/office/drawing/2014/main" id="{2BDC46C6-5DD5-4213-8D28-87E6DBE1AB78}"/>
              </a:ext>
            </a:extLst>
          </p:cNvPr>
          <p:cNvCxnSpPr>
            <a:cxnSpLocks/>
          </p:cNvCxnSpPr>
          <p:nvPr/>
        </p:nvCxnSpPr>
        <p:spPr>
          <a:xfrm>
            <a:off x="2536182" y="1284319"/>
            <a:ext cx="523875" cy="298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4">
            <a:extLst>
              <a:ext uri="{FF2B5EF4-FFF2-40B4-BE49-F238E27FC236}">
                <a16:creationId xmlns:a16="http://schemas.microsoft.com/office/drawing/2014/main" id="{6AF8037E-9CEB-4EF9-871D-03B93915FF85}"/>
              </a:ext>
            </a:extLst>
          </p:cNvPr>
          <p:cNvGraphicFramePr/>
          <p:nvPr>
            <p:extLst/>
          </p:nvPr>
        </p:nvGraphicFramePr>
        <p:xfrm>
          <a:off x="556549" y="2808238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TextBox 6">
            <a:extLst>
              <a:ext uri="{FF2B5EF4-FFF2-40B4-BE49-F238E27FC236}">
                <a16:creationId xmlns:a16="http://schemas.microsoft.com/office/drawing/2014/main" id="{52DB9877-E0F1-4394-B7F1-2FFC02A1EF08}"/>
              </a:ext>
            </a:extLst>
          </p:cNvPr>
          <p:cNvSpPr txBox="1"/>
          <p:nvPr/>
        </p:nvSpPr>
        <p:spPr>
          <a:xfrm rot="16200000">
            <a:off x="-1149503" y="4156817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Přímá spojnice 61">
            <a:extLst>
              <a:ext uri="{FF2B5EF4-FFF2-40B4-BE49-F238E27FC236}">
                <a16:creationId xmlns:a16="http://schemas.microsoft.com/office/drawing/2014/main" id="{80D93A6D-177B-4185-B647-B8DF07634E10}"/>
              </a:ext>
            </a:extLst>
          </p:cNvPr>
          <p:cNvCxnSpPr>
            <a:cxnSpLocks/>
          </p:cNvCxnSpPr>
          <p:nvPr/>
        </p:nvCxnSpPr>
        <p:spPr>
          <a:xfrm>
            <a:off x="8152951" y="3387052"/>
            <a:ext cx="237744" cy="0"/>
          </a:xfrm>
          <a:prstGeom prst="line">
            <a:avLst/>
          </a:prstGeom>
          <a:ln w="381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ovéPole 62">
            <a:extLst>
              <a:ext uri="{FF2B5EF4-FFF2-40B4-BE49-F238E27FC236}">
                <a16:creationId xmlns:a16="http://schemas.microsoft.com/office/drawing/2014/main" id="{618D1943-12D3-4993-BD5F-AF6C65AB8F85}"/>
              </a:ext>
            </a:extLst>
          </p:cNvPr>
          <p:cNvSpPr txBox="1"/>
          <p:nvPr/>
        </p:nvSpPr>
        <p:spPr>
          <a:xfrm>
            <a:off x="8448983" y="3204845"/>
            <a:ext cx="3251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II</a:t>
            </a:r>
          </a:p>
        </p:txBody>
      </p:sp>
      <p:sp>
        <p:nvSpPr>
          <p:cNvPr id="64" name="Obdélník 63">
            <a:extLst>
              <a:ext uri="{FF2B5EF4-FFF2-40B4-BE49-F238E27FC236}">
                <a16:creationId xmlns:a16="http://schemas.microsoft.com/office/drawing/2014/main" id="{FF9D4894-4AE1-4907-A2C1-EBC6B8B4E502}"/>
              </a:ext>
            </a:extLst>
          </p:cNvPr>
          <p:cNvSpPr/>
          <p:nvPr/>
        </p:nvSpPr>
        <p:spPr>
          <a:xfrm>
            <a:off x="19726" y="6304000"/>
            <a:ext cx="121722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nímek prezentuje výsledky simulace prostřednictvím epidemiologického modelu SEIRV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36CCB663-0E68-4640-BF33-FA593EA32061}"/>
              </a:ext>
            </a:extLst>
          </p:cNvPr>
          <p:cNvSpPr/>
          <p:nvPr/>
        </p:nvSpPr>
        <p:spPr>
          <a:xfrm>
            <a:off x="8175594" y="2834573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029FB996-37A5-40D2-AF91-BDC4A30C0984}"/>
              </a:ext>
            </a:extLst>
          </p:cNvPr>
          <p:cNvSpPr txBox="1"/>
          <p:nvPr/>
        </p:nvSpPr>
        <p:spPr>
          <a:xfrm>
            <a:off x="8472774" y="2798805"/>
            <a:ext cx="31098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. 5. 2021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E6597242-CEB1-44FD-BFBE-11D4203E109C}"/>
              </a:ext>
            </a:extLst>
          </p:cNvPr>
          <p:cNvSpPr/>
          <p:nvPr/>
        </p:nvSpPr>
        <p:spPr>
          <a:xfrm>
            <a:off x="8472774" y="3501095"/>
            <a:ext cx="17572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5. 3. 2021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5376E359-53AC-4716-97B2-ABAF6B80A34E}"/>
              </a:ext>
            </a:extLst>
          </p:cNvPr>
          <p:cNvSpPr txBox="1"/>
          <p:nvPr/>
        </p:nvSpPr>
        <p:spPr>
          <a:xfrm>
            <a:off x="8472774" y="3798793"/>
            <a:ext cx="3352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scénáři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a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F6111063-B439-4FD9-9FD3-4175F0D8D3BD}"/>
              </a:ext>
            </a:extLst>
          </p:cNvPr>
          <p:cNvCxnSpPr>
            <a:cxnSpLocks/>
          </p:cNvCxnSpPr>
          <p:nvPr/>
        </p:nvCxnSpPr>
        <p:spPr>
          <a:xfrm>
            <a:off x="8178029" y="3934806"/>
            <a:ext cx="237744" cy="0"/>
          </a:xfrm>
          <a:prstGeom prst="line">
            <a:avLst/>
          </a:prstGeom>
          <a:ln w="38100"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délník 18">
            <a:extLst>
              <a:ext uri="{FF2B5EF4-FFF2-40B4-BE49-F238E27FC236}">
                <a16:creationId xmlns:a16="http://schemas.microsoft.com/office/drawing/2014/main" id="{1E00F13A-C0C8-4436-A1B8-589C547BB6D3}"/>
              </a:ext>
            </a:extLst>
          </p:cNvPr>
          <p:cNvSpPr/>
          <p:nvPr/>
        </p:nvSpPr>
        <p:spPr>
          <a:xfrm>
            <a:off x="8472774" y="4079236"/>
            <a:ext cx="17251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3. 4. 2021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4E638C8-29BF-4E40-BC86-1339E761E909}"/>
              </a:ext>
            </a:extLst>
          </p:cNvPr>
          <p:cNvSpPr txBox="1"/>
          <p:nvPr/>
        </p:nvSpPr>
        <p:spPr>
          <a:xfrm>
            <a:off x="3174357" y="647286"/>
            <a:ext cx="6642503" cy="369332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II: významné posílení opatření a rychlé zpomalení epidemie 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336917" y="1897573"/>
            <a:ext cx="92278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 </a:t>
            </a:r>
            <a:r>
              <a:rPr kumimoji="0" lang="cs-CZ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Ia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dpokládá uvážené a pozvolné uvolňování opatření v dubnu, bez významného dopadu na šíření nákazy. V tomto případě lze očekávat zrychlený pokles zátěže populace i vlivem postupujícího očkování. </a:t>
            </a:r>
          </a:p>
        </p:txBody>
      </p:sp>
    </p:spTree>
    <p:extLst>
      <p:ext uri="{BB962C8B-B14F-4D97-AF65-F5344CB8AC3E}">
        <p14:creationId xmlns:p14="http://schemas.microsoft.com/office/powerpoint/2010/main" val="32933988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/>
              <a:t>Verifikace modelů </a:t>
            </a:r>
            <a:r>
              <a:rPr lang="cs-CZ" sz="3600" i="1" dirty="0" smtClean="0"/>
              <a:t>nastavených na počátku března 2021 </a:t>
            </a:r>
            <a:endParaRPr lang="cs-CZ" sz="3600" i="1" dirty="0"/>
          </a:p>
        </p:txBody>
      </p:sp>
    </p:spTree>
    <p:extLst>
      <p:ext uri="{BB962C8B-B14F-4D97-AF65-F5344CB8AC3E}">
        <p14:creationId xmlns:p14="http://schemas.microsoft.com/office/powerpoint/2010/main" val="27868015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8660" y="103163"/>
            <a:ext cx="11537512" cy="1951268"/>
          </a:xfrm>
        </p:spPr>
        <p:txBody>
          <a:bodyPr>
            <a:normAutofit lnSpcReduction="10000"/>
          </a:bodyPr>
          <a:lstStyle/>
          <a:p>
            <a:r>
              <a:rPr lang="cs-CZ" sz="3600" b="1" dirty="0" smtClean="0"/>
              <a:t>Ve shodě s dlouhodobými predikcemi došlo </a:t>
            </a:r>
          </a:p>
          <a:p>
            <a:r>
              <a:rPr lang="cs-CZ" sz="3600" b="1" dirty="0" smtClean="0"/>
              <a:t>v 2. polovině dubna k významnému poklesu počtu</a:t>
            </a:r>
          </a:p>
          <a:p>
            <a:r>
              <a:rPr lang="cs-CZ" sz="3600" b="1" dirty="0" smtClean="0"/>
              <a:t> hospitalizovaných </a:t>
            </a:r>
            <a:endParaRPr lang="cs-CZ" sz="3600" b="1" dirty="0"/>
          </a:p>
        </p:txBody>
      </p:sp>
      <p:sp>
        <p:nvSpPr>
          <p:cNvPr id="5" name="TextovéPole 4"/>
          <p:cNvSpPr txBox="1"/>
          <p:nvPr/>
        </p:nvSpPr>
        <p:spPr>
          <a:xfrm>
            <a:off x="157740" y="2905066"/>
            <a:ext cx="1161934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vývoj sleduje pokles odpovídající zpomalování šíření epidemie v populaci při reprodukčním číslu &lt; 0,80. Počty hospitalizací tak reagují se zpožděním cca 7 - 10 dnů na změnu v populačních trendech; nadále lze předpokládat další významný pokles. Počty pacientů vyžadující intenzivní péči klesají relativně pomaleji než počty na standardním lůžku.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5221413" y="2054431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Šipka dolů 5"/>
          <p:cNvSpPr/>
          <p:nvPr/>
        </p:nvSpPr>
        <p:spPr>
          <a:xfrm>
            <a:off x="5221413" y="6017880"/>
            <a:ext cx="1246909" cy="523206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22549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66654" y="4287824"/>
            <a:ext cx="2829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CA40C928-143B-4896-AF7B-D4BD5932C13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118BD85-0615-4F73-A73D-0924A20B44F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464A0DF9-2D74-4995-B4F0-4AB553D3AB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bdélník 34">
              <a:extLst>
                <a:ext uri="{FF2B5EF4-FFF2-40B4-BE49-F238E27FC236}">
                  <a16:creationId xmlns:a16="http://schemas.microsoft.com/office/drawing/2014/main" id="{BDB9DB8F-062F-440A-92BC-D2FD34C150F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TextovéPole 28">
              <a:extLst>
                <a:ext uri="{FF2B5EF4-FFF2-40B4-BE49-F238E27FC236}">
                  <a16:creationId xmlns:a16="http://schemas.microsoft.com/office/drawing/2014/main" id="{71966B87-6F6D-4EA4-B350-25CE639C64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EE3225F5-AE2B-4264-8B98-29C6B37DC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A5F8663C-1368-47B1-9212-E56B102300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Přímá spojnice 18"/>
          <p:cNvCxnSpPr/>
          <p:nvPr>
            <p:custDataLst>
              <p:tags r:id="rId3"/>
            </p:custDataLst>
          </p:nvPr>
        </p:nvCxnSpPr>
        <p:spPr>
          <a:xfrm flipH="1" flipV="1">
            <a:off x="1101851" y="5135420"/>
            <a:ext cx="8559387" cy="3694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0527234"/>
              </p:ext>
            </p:extLst>
          </p:nvPr>
        </p:nvGraphicFramePr>
        <p:xfrm>
          <a:off x="527900" y="2620763"/>
          <a:ext cx="10768553" cy="4327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2" name="Table 1">
            <a:extLst>
              <a:ext uri="{FF2B5EF4-FFF2-40B4-BE49-F238E27FC236}">
                <a16:creationId xmlns:a16="http://schemas.microsoft.com/office/drawing/2014/main" id="{F19E8777-E529-4D78-A385-53734F5DCF26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1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29706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97635" y="4246253"/>
            <a:ext cx="2829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A40C928-143B-4896-AF7B-D4BD5932C13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0118BD85-0615-4F73-A73D-0924A20B44F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464A0DF9-2D74-4995-B4F0-4AB553D3AB9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BDB9DB8F-062F-440A-92BC-D2FD34C150F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71966B87-6F6D-4EA4-B350-25CE639C641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E3225F5-AE2B-4264-8B98-29C6B37DCBE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A5F8663C-1368-47B1-9212-E56B102300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" name="Přímá spojnice 2"/>
          <p:cNvCxnSpPr/>
          <p:nvPr/>
        </p:nvCxnSpPr>
        <p:spPr>
          <a:xfrm flipH="1" flipV="1">
            <a:off x="1194213" y="5116945"/>
            <a:ext cx="8559387" cy="3694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Table 42">
            <a:extLst>
              <a:ext uri="{FF2B5EF4-FFF2-40B4-BE49-F238E27FC236}">
                <a16:creationId xmlns:a16="http://schemas.microsoft.com/office/drawing/2014/main" id="{F1A43C80-A675-4E6B-9A4A-519FE17A605F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31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6158524"/>
              </p:ext>
            </p:extLst>
          </p:nvPr>
        </p:nvGraphicFramePr>
        <p:xfrm>
          <a:off x="740212" y="2496322"/>
          <a:ext cx="10715197" cy="4361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818481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693109"/>
            <a:ext cx="11905307" cy="2140532"/>
          </a:xfrm>
        </p:spPr>
        <p:txBody>
          <a:bodyPr>
            <a:normAutofit/>
          </a:bodyPr>
          <a:lstStyle/>
          <a:p>
            <a:r>
              <a:rPr lang="cs-CZ" sz="5200" b="1" dirty="0"/>
              <a:t>Krátkodobé predikce zátěže nemocnic</a:t>
            </a:r>
          </a:p>
          <a:p>
            <a:r>
              <a:rPr lang="cs-CZ" sz="3600" i="1" dirty="0" smtClean="0"/>
              <a:t>Nově vybudované modely pro květen, kalibrace z 28.4. 2021</a:t>
            </a:r>
            <a:endParaRPr lang="cs-CZ" sz="3600" i="1" dirty="0"/>
          </a:p>
        </p:txBody>
      </p:sp>
    </p:spTree>
    <p:extLst>
      <p:ext uri="{BB962C8B-B14F-4D97-AF65-F5344CB8AC3E}">
        <p14:creationId xmlns:p14="http://schemas.microsoft.com/office/powerpoint/2010/main" val="27680715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833A5CE7-EFE4-4FF9-8B90-B0FD849FE351}"/>
              </a:ext>
            </a:extLst>
          </p:cNvPr>
          <p:cNvGraphicFramePr/>
          <p:nvPr/>
        </p:nvGraphicFramePr>
        <p:xfrm>
          <a:off x="95247" y="2824205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CB45B59F-8A81-4DD2-B8A6-842CB8B659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53063" y="2214940"/>
            <a:ext cx="2362704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ce seniorů 65+ let</a:t>
            </a:r>
          </a:p>
        </p:txBody>
      </p:sp>
      <p:graphicFrame>
        <p:nvGraphicFramePr>
          <p:cNvPr id="8" name="Tabulka 3">
            <a:extLst>
              <a:ext uri="{FF2B5EF4-FFF2-40B4-BE49-F238E27FC236}">
                <a16:creationId xmlns:a16="http://schemas.microsoft.com/office/drawing/2014/main" id="{46F8619C-C538-4515-8A87-3AAFD1CBF9E0}"/>
              </a:ext>
            </a:extLst>
          </p:cNvPr>
          <p:cNvGraphicFramePr>
            <a:graphicFrameLocks noGrp="1"/>
          </p:cNvGraphicFramePr>
          <p:nvPr/>
        </p:nvGraphicFramePr>
        <p:xfrm>
          <a:off x="4539343" y="1318755"/>
          <a:ext cx="6646969" cy="2217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9983">
                  <a:extLst>
                    <a:ext uri="{9D8B030D-6E8A-4147-A177-3AD203B41FA5}">
                      <a16:colId xmlns:a16="http://schemas.microsoft.com/office/drawing/2014/main" val="653187899"/>
                    </a:ext>
                  </a:extLst>
                </a:gridCol>
                <a:gridCol w="2306986">
                  <a:extLst>
                    <a:ext uri="{9D8B030D-6E8A-4147-A177-3AD203B41FA5}">
                      <a16:colId xmlns:a16="http://schemas.microsoft.com/office/drawing/2014/main" val="34864157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3000" b="1" u="sng">
                          <a:solidFill>
                            <a:srgbClr val="C00000"/>
                          </a:solidFill>
                          <a:latin typeface="+mn-lt"/>
                        </a:rPr>
                        <a:t>Nově diagnostikovaní ve věku 65+</a:t>
                      </a:r>
                      <a:endParaRPr lang="cs-CZ" sz="3000" b="1" u="sng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3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61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é 3 dny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78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293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7 dní: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984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8340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Za uplynulých 14 dní: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36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 389</a:t>
                      </a:r>
                      <a:endParaRPr lang="cs-CZ" sz="36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741784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764D1A-68C2-47CF-9E50-A28EB0F2ED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2105" y="33126"/>
            <a:ext cx="113442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ý počet nově nakažených potenciálně zranitelných pacientů zvyšoval zátěž nemocnic. V posledním týdnu počty pacientů klesají.  </a:t>
            </a: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Šipka doprava 1">
            <a:extLst>
              <a:ext uri="{FF2B5EF4-FFF2-40B4-BE49-F238E27FC236}">
                <a16:creationId xmlns:a16="http://schemas.microsoft.com/office/drawing/2014/main" id="{B1D27FC9-EC46-49D1-BC34-CC1C1B54C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228665">
            <a:off x="11096993" y="4854039"/>
            <a:ext cx="664908" cy="202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4530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08FBC4-9856-48C7-8DF3-A027D07EF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dirty="0"/>
              <a:t>Navržené scénáře pro </a:t>
            </a:r>
            <a:br>
              <a:rPr lang="cs-CZ" dirty="0"/>
            </a:br>
            <a:r>
              <a:rPr lang="cs-CZ" dirty="0"/>
              <a:t>vývoj epidemie v květn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E5D9B15-9A2B-4DD9-96F4-1AF57AAB9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819" y="1457767"/>
            <a:ext cx="10847093" cy="4428821"/>
          </a:xfrm>
        </p:spPr>
        <p:txBody>
          <a:bodyPr>
            <a:noAutofit/>
          </a:bodyPr>
          <a:lstStyle/>
          <a:p>
            <a:r>
              <a:rPr lang="cs-CZ" sz="1800" b="1" dirty="0"/>
              <a:t>V návaznosti na novou kalibraci modelu 27. 4. byly připraveny nové scénáře</a:t>
            </a:r>
            <a:r>
              <a:rPr lang="en-US" sz="1800" b="1" dirty="0"/>
              <a:t>*</a:t>
            </a:r>
            <a:endParaRPr lang="cs-CZ" sz="1800" b="1" dirty="0"/>
          </a:p>
          <a:p>
            <a:r>
              <a:rPr lang="cs-CZ" sz="1800" b="1" dirty="0">
                <a:solidFill>
                  <a:srgbClr val="00B050"/>
                </a:solidFill>
              </a:rPr>
              <a:t>Scénář </a:t>
            </a:r>
            <a:r>
              <a:rPr lang="en-US" sz="1800" b="1" dirty="0">
                <a:solidFill>
                  <a:srgbClr val="00B050"/>
                </a:solidFill>
              </a:rPr>
              <a:t>A</a:t>
            </a:r>
            <a:r>
              <a:rPr lang="cs-CZ" sz="1800" b="1" dirty="0">
                <a:solidFill>
                  <a:srgbClr val="00B050"/>
                </a:solidFill>
              </a:rPr>
              <a:t> (scénář velmi významného zpomalení epidemie; předpokládané udržitelné R = </a:t>
            </a:r>
            <a:r>
              <a:rPr lang="en-US" sz="1800" b="1" dirty="0">
                <a:solidFill>
                  <a:srgbClr val="00B050"/>
                </a:solidFill>
              </a:rPr>
              <a:t>0,</a:t>
            </a:r>
            <a:r>
              <a:rPr lang="cs-CZ" sz="1800" b="1" dirty="0">
                <a:solidFill>
                  <a:srgbClr val="00B050"/>
                </a:solidFill>
              </a:rPr>
              <a:t>75)</a:t>
            </a:r>
          </a:p>
          <a:p>
            <a:pPr lvl="1"/>
            <a:r>
              <a:rPr lang="cs-CZ" sz="1600" dirty="0"/>
              <a:t>výrazný dopad opatření účinných od 1. 3. 2021, předpokládané další zlepšení díky vlivu sezónnosti, rozvoji dalších mechanismů (např. testování a trasování), postupující vakcinace.</a:t>
            </a:r>
          </a:p>
          <a:p>
            <a:r>
              <a:rPr lang="cs-CZ" sz="1800" b="1" dirty="0">
                <a:solidFill>
                  <a:srgbClr val="0070C0"/>
                </a:solidFill>
              </a:rPr>
              <a:t>Scénář B (scénář pokračujícího zpomalení epidemie; předpokládané R = 0,85)</a:t>
            </a:r>
          </a:p>
          <a:p>
            <a:pPr lvl="1"/>
            <a:r>
              <a:rPr lang="cs-CZ" sz="1600" dirty="0"/>
              <a:t>výrazný dopad opatření účinných od 1. 3. 2021, odpovídá aktuálním hodnotám reprodukčního čísla a aktuálním trendům ve zpomalení epidemie </a:t>
            </a:r>
          </a:p>
          <a:p>
            <a:r>
              <a:rPr lang="cs-CZ" sz="1800" b="1" dirty="0">
                <a:solidFill>
                  <a:srgbClr val="FFC618"/>
                </a:solidFill>
              </a:rPr>
              <a:t>Scénář C (scénář stagnace epidemie, předpokládané R = 0,95)</a:t>
            </a:r>
          </a:p>
          <a:p>
            <a:pPr lvl="1"/>
            <a:r>
              <a:rPr lang="cs-CZ" sz="1600" dirty="0"/>
              <a:t>scénář pro zpomalení poklesu vlivem částečného dopadu probíhajících rozvolnění</a:t>
            </a:r>
          </a:p>
          <a:p>
            <a:r>
              <a:rPr lang="cs-CZ" sz="1800" b="1" dirty="0">
                <a:solidFill>
                  <a:srgbClr val="FF0000"/>
                </a:solidFill>
              </a:rPr>
              <a:t>Scénář D (rizikový scénář, předpokládané R = 1,10)</a:t>
            </a:r>
          </a:p>
          <a:p>
            <a:pPr lvl="1"/>
            <a:r>
              <a:rPr lang="cs-CZ" sz="1600" dirty="0"/>
              <a:t>opětovné zhoršení situace v důsledku rozvolnění, snížení akceptace opatření populací, vlivu emergentních (mutovaných) variant SARS-CoV-2 apod.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7E8C24-967E-41C5-A2B5-229406E471EE}"/>
              </a:ext>
            </a:extLst>
          </p:cNvPr>
          <p:cNvSpPr txBox="1"/>
          <p:nvPr/>
        </p:nvSpPr>
        <p:spPr>
          <a:xfrm>
            <a:off x="254549" y="5961934"/>
            <a:ext cx="117909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 kalibraci reprodukčního čísla SIR epidemiologickým modelem pro krátkodobé predikce ÚZIS ČR v segmentu od 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3. do 26. 4. 20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dhad 0,83 (0,77–0,88), interval odpovídá 95% intervalu neurčitosti z odhadů získaných kalibrací modelu, kalibračním cílem byly denní přírůstky s vyjmutím volných dn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énáře pro různou dynamiku šíření epidemie v následujícím období jsou aplikovány od 19. 4. 2021.</a:t>
            </a:r>
          </a:p>
        </p:txBody>
      </p:sp>
    </p:spTree>
    <p:extLst>
      <p:ext uri="{BB962C8B-B14F-4D97-AF65-F5344CB8AC3E}">
        <p14:creationId xmlns:p14="http://schemas.microsoft.com/office/powerpoint/2010/main" val="2998920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33">
            <a:extLst>
              <a:ext uri="{FF2B5EF4-FFF2-40B4-BE49-F238E27FC236}">
                <a16:creationId xmlns:a16="http://schemas.microsoft.com/office/drawing/2014/main" id="{C5747F8E-2DFE-46AF-BC66-E22B7CD0EB37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088673"/>
          <a:ext cx="9064944" cy="3505200"/>
        </p:xfrm>
        <a:graphic>
          <a:graphicData uri="http://schemas.openxmlformats.org/drawingml/2006/table">
            <a:tbl>
              <a:tblPr/>
              <a:tblGrid>
                <a:gridCol w="7173873">
                  <a:extLst>
                    <a:ext uri="{9D8B030D-6E8A-4147-A177-3AD203B41FA5}">
                      <a16:colId xmlns:a16="http://schemas.microsoft.com/office/drawing/2014/main" val="1918387992"/>
                    </a:ext>
                  </a:extLst>
                </a:gridCol>
                <a:gridCol w="1891071">
                  <a:extLst>
                    <a:ext uri="{9D8B030D-6E8A-4147-A177-3AD203B41FA5}">
                      <a16:colId xmlns:a16="http://schemas.microsoft.com/office/drawing/2014/main" val="1639439843"/>
                    </a:ext>
                  </a:extLst>
                </a:gridCol>
              </a:tblGrid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v nemocnici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 449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789772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JIP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63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1122535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UPV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93534"/>
                  </a:ext>
                </a:extLst>
              </a:tr>
              <a:tr h="798192">
                <a:tc>
                  <a:txBody>
                    <a:bodyPr/>
                    <a:lstStyle/>
                    <a:p>
                      <a:pPr algn="l" fontAlgn="b"/>
                      <a:r>
                        <a:rPr lang="cs-CZ" sz="5700" b="0" i="0" u="none" strike="noStrike" baseline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ECMO:</a:t>
                      </a:r>
                      <a:endParaRPr lang="cs-CZ" sz="5700" b="0" i="0" u="none" strike="noStrike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5700" b="0" i="0" u="none" strike="noStrike" baseline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cs-CZ" sz="5700" b="0" i="0" u="none" strike="noStrike" baseline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537972"/>
                  </a:ext>
                </a:extLst>
              </a:tr>
            </a:tbl>
          </a:graphicData>
        </a:graphic>
      </p:graphicFrame>
      <p:sp>
        <p:nvSpPr>
          <p:cNvPr id="35" name="Šipka dolů 1">
            <a:extLst>
              <a:ext uri="{FF2B5EF4-FFF2-40B4-BE49-F238E27FC236}">
                <a16:creationId xmlns:a16="http://schemas.microsoft.com/office/drawing/2014/main" id="{273E8147-1472-4BD2-B50D-7B3FC07C0A0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144651" y="1892081"/>
            <a:ext cx="1588655" cy="785091"/>
          </a:xfrm>
          <a:prstGeom prst="downArrow">
            <a:avLst/>
          </a:prstGeom>
          <a:solidFill>
            <a:srgbClr val="30598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FABE329-CC08-4062-8E80-53173DE0C38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7008" y="334108"/>
            <a:ext cx="11131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uální 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</a:t>
            </a:r>
            <a:r>
              <a:rPr kumimoji="0" lang="en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ých</a:t>
            </a: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cientů klesají</a:t>
            </a:r>
            <a:b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oste i dostupná kapacita lůžek, včetně JIP</a:t>
            </a:r>
            <a:endParaRPr kumimoji="0" lang="cs-CZ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Šipka doprava 5">
            <a:extLst>
              <a:ext uri="{FF2B5EF4-FFF2-40B4-BE49-F238E27FC236}">
                <a16:creationId xmlns:a16="http://schemas.microsoft.com/office/drawing/2014/main" id="{8B605E19-8E0D-463F-BF24-B2B0E9C63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5400000">
            <a:off x="10031632" y="3369110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Šipka doprava 6">
            <a:extLst>
              <a:ext uri="{FF2B5EF4-FFF2-40B4-BE49-F238E27FC236}">
                <a16:creationId xmlns:a16="http://schemas.microsoft.com/office/drawing/2014/main" id="{D25A05A7-A807-4583-A277-C5FD37355E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5400000">
            <a:off x="10031632" y="4224634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Šipka doprava 7">
            <a:extLst>
              <a:ext uri="{FF2B5EF4-FFF2-40B4-BE49-F238E27FC236}">
                <a16:creationId xmlns:a16="http://schemas.microsoft.com/office/drawing/2014/main" id="{6DB20091-CCBD-46D7-9A06-C1C750C62DA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5400000">
            <a:off x="10031632" y="5084257"/>
            <a:ext cx="493059" cy="4661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Tabulka 4">
            <a:extLst>
              <a:ext uri="{FF2B5EF4-FFF2-40B4-BE49-F238E27FC236}">
                <a16:creationId xmlns:a16="http://schemas.microsoft.com/office/drawing/2014/main" id="{1F85685B-374C-4E16-8891-2921D3B486CB}"/>
              </a:ext>
            </a:extLst>
          </p:cNvPr>
          <p:cNvGraphicFramePr>
            <a:graphicFrameLocks noGrp="1"/>
          </p:cNvGraphicFramePr>
          <p:nvPr/>
        </p:nvGraphicFramePr>
        <p:xfrm>
          <a:off x="7737231" y="2713132"/>
          <a:ext cx="307730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846">
                  <a:extLst>
                    <a:ext uri="{9D8B030D-6E8A-4147-A177-3AD203B41FA5}">
                      <a16:colId xmlns:a16="http://schemas.microsoft.com/office/drawing/2014/main" val="3701563452"/>
                    </a:ext>
                  </a:extLst>
                </a:gridCol>
                <a:gridCol w="1758462">
                  <a:extLst>
                    <a:ext uri="{9D8B030D-6E8A-4147-A177-3AD203B41FA5}">
                      <a16:colId xmlns:a16="http://schemas.microsoft.com/office/drawing/2014/main" val="21215855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cs-CZ" sz="2400"/>
                        <a:t>Stav k</a:t>
                      </a:r>
                      <a:endParaRPr lang="cs-CZ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1.05.2021</a:t>
                      </a:r>
                      <a:endParaRPr lang="cs-CZ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05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326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25488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4">
            <a:extLst>
              <a:ext uri="{FF2B5EF4-FFF2-40B4-BE49-F238E27FC236}">
                <a16:creationId xmlns:a16="http://schemas.microsoft.com/office/drawing/2014/main" id="{5A11BCFC-49AD-487D-BBB2-8BDDECE7C06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140141" y="4287824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381739" y="94911"/>
            <a:ext cx="113753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 </a:t>
            </a:r>
            <a:r>
              <a:rPr kumimoji="0" lang="cs-CZ" sz="3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lesají</a:t>
            </a:r>
          </a:p>
        </p:txBody>
      </p:sp>
      <p:sp>
        <p:nvSpPr>
          <p:cNvPr id="29" name="Zahnutá šipka nahoru 25">
            <a:extLst>
              <a:ext uri="{FF2B5EF4-FFF2-40B4-BE49-F238E27FC236}">
                <a16:creationId xmlns:a16="http://schemas.microsoft.com/office/drawing/2014/main" id="{77962815-283B-44A7-A845-1BB5AFDAE3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Zahnutá šipka nahoru 25">
            <a:extLst>
              <a:ext uri="{FF2B5EF4-FFF2-40B4-BE49-F238E27FC236}">
                <a16:creationId xmlns:a16="http://schemas.microsoft.com/office/drawing/2014/main" id="{900DBD3A-25FF-44DB-9A70-41A63B98A098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ahnutá šipka nahoru 25">
            <a:extLst>
              <a:ext uri="{FF2B5EF4-FFF2-40B4-BE49-F238E27FC236}">
                <a16:creationId xmlns:a16="http://schemas.microsoft.com/office/drawing/2014/main" id="{8BC9AE2D-ED68-40C1-9F08-DFCD52A3016B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893A30C-13C1-48B0-8E66-4452BB2AA16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900378"/>
            <a:ext cx="1900937" cy="1908215"/>
            <a:chOff x="10258697" y="3526984"/>
            <a:chExt cx="1900937" cy="2050641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BFB909AD-5289-44A3-B1F2-3B9234B8E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BEA18967-C642-4BF3-B34F-32EEB41C01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21846B38-EB34-4DB8-A436-D436168812D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ovéPole 28">
              <a:extLst>
                <a:ext uri="{FF2B5EF4-FFF2-40B4-BE49-F238E27FC236}">
                  <a16:creationId xmlns:a16="http://schemas.microsoft.com/office/drawing/2014/main" id="{73BB0644-34DD-4DA4-BD0A-DF4A8CE2ED35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2050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2" name="Přímá spojnice 41">
              <a:extLst>
                <a:ext uri="{FF2B5EF4-FFF2-40B4-BE49-F238E27FC236}">
                  <a16:creationId xmlns:a16="http://schemas.microsoft.com/office/drawing/2014/main" id="{B9E18A0F-634C-4FB8-9C2E-7529D9949A6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A2B38171-9386-487D-86F3-56F99584FA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le 1">
            <a:extLst>
              <a:ext uri="{FF2B5EF4-FFF2-40B4-BE49-F238E27FC236}">
                <a16:creationId xmlns:a16="http://schemas.microsoft.com/office/drawing/2014/main" id="{F19E8777-E529-4D78-A385-53734F5DCF26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1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4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3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3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1,4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TextBox 9">
            <a:extLst>
              <a:ext uri="{FF2B5EF4-FFF2-40B4-BE49-F238E27FC236}">
                <a16:creationId xmlns:a16="http://schemas.microsoft.com/office/drawing/2014/main" id="{A7EDDDB3-60FE-4BF3-AD6E-EC4DF377ACB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17" name="Chart 11">
            <a:extLst>
              <a:ext uri="{FF2B5EF4-FFF2-40B4-BE49-F238E27FC236}">
                <a16:creationId xmlns:a16="http://schemas.microsoft.com/office/drawing/2014/main" id="{981CB6A6-72A9-473F-B599-40385C7CCD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1012425"/>
              </p:ext>
            </p:extLst>
          </p:nvPr>
        </p:nvGraphicFramePr>
        <p:xfrm>
          <a:off x="381739" y="1856481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03408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983075" y="3867155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ovaný počet pacientů</a:t>
            </a: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žadujících intenzivní péči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507D902C-D9A4-417A-909B-281157810E3B}"/>
              </a:ext>
            </a:extLst>
          </p:cNvPr>
          <p:cNvSpPr txBox="1"/>
          <p:nvPr/>
        </p:nvSpPr>
        <p:spPr>
          <a:xfrm>
            <a:off x="184727" y="12542"/>
            <a:ext cx="117976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týdenním srovnání počty hospitalizací na JIP v ČR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esají</a:t>
            </a:r>
            <a:endParaRPr kumimoji="0" lang="cs-CZ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B9467872-2E2D-483D-9051-248F9B679CD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BA5D4EF8-791B-4AC7-95EC-26F641E5D80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AAF39631-D007-4DCC-BE9F-1756C7735E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A948540E-6D40-49FE-B36C-8A36C14B109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69C4313E-E871-45D7-A260-E9B39E1AF38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álné hodno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</a:t>
              </a: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 0,9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8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 = 0,7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ximální počet pacientů s COVID-19 na lůžkách za období říjen/listopad 2020</a:t>
              </a:r>
              <a:endPara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237A5BB3-D390-4057-9107-0BFDE16D70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EB715DD8-1FB5-4345-AED7-D5983CB9355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Table 42">
            <a:extLst>
              <a:ext uri="{FF2B5EF4-FFF2-40B4-BE49-F238E27FC236}">
                <a16:creationId xmlns:a16="http://schemas.microsoft.com/office/drawing/2014/main" id="{F1A43C80-A675-4E6B-9A4A-519FE17A605F}"/>
              </a:ext>
            </a:extLst>
          </p:cNvPr>
          <p:cNvGraphicFramePr>
            <a:graphicFrameLocks noGrp="1"/>
          </p:cNvGraphicFramePr>
          <p:nvPr/>
        </p:nvGraphicFramePr>
        <p:xfrm>
          <a:off x="1019853" y="679650"/>
          <a:ext cx="10357393" cy="1334332"/>
        </p:xfrm>
        <a:graphic>
          <a:graphicData uri="http://schemas.openxmlformats.org/drawingml/2006/table">
            <a:tbl>
              <a:tblPr/>
              <a:tblGrid>
                <a:gridCol w="876125">
                  <a:extLst>
                    <a:ext uri="{9D8B030D-6E8A-4147-A177-3AD203B41FA5}">
                      <a16:colId xmlns:a16="http://schemas.microsoft.com/office/drawing/2014/main" val="48520255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833894502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339390954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442937595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10058184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681172455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25789837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80954013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1762303921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930652356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5881896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938193226"/>
                    </a:ext>
                  </a:extLst>
                </a:gridCol>
                <a:gridCol w="611695">
                  <a:extLst>
                    <a:ext uri="{9D8B030D-6E8A-4147-A177-3AD203B41FA5}">
                      <a16:colId xmlns:a16="http://schemas.microsoft.com/office/drawing/2014/main" val="2183149112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2057481270"/>
                    </a:ext>
                  </a:extLst>
                </a:gridCol>
                <a:gridCol w="764618">
                  <a:extLst>
                    <a:ext uri="{9D8B030D-6E8A-4147-A177-3AD203B41FA5}">
                      <a16:colId xmlns:a16="http://schemas.microsoft.com/office/drawing/2014/main" val="378473100"/>
                    </a:ext>
                  </a:extLst>
                </a:gridCol>
              </a:tblGrid>
              <a:tr h="318119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stav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67095"/>
                  </a:ext>
                </a:extLst>
              </a:tr>
              <a:tr h="318119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7. 3.–2. 4.</a:t>
                      </a:r>
                      <a:endParaRPr lang="cs-CZ" sz="1600" b="1" i="0" u="sng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. 4.–9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. 4.–16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. 4.–2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4.–3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305143"/>
                  </a:ext>
                </a:extLst>
              </a:tr>
              <a:tr h="35346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1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8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466746"/>
                  </a:ext>
                </a:extLst>
              </a:tr>
              <a:tr h="344629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4,6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0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4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8661907"/>
                  </a:ext>
                </a:extLst>
              </a:tr>
            </a:tbl>
          </a:graphicData>
        </a:graphic>
      </p:graphicFrame>
      <p:sp>
        <p:nvSpPr>
          <p:cNvPr id="44" name="Zahnutá šipka nahoru 25">
            <a:extLst>
              <a:ext uri="{FF2B5EF4-FFF2-40B4-BE49-F238E27FC236}">
                <a16:creationId xmlns:a16="http://schemas.microsoft.com/office/drawing/2014/main" id="{DD00329A-1C9A-46DB-B313-08A0786515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2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Zahnutá šipka nahoru 25">
            <a:extLst>
              <a:ext uri="{FF2B5EF4-FFF2-40B4-BE49-F238E27FC236}">
                <a16:creationId xmlns:a16="http://schemas.microsoft.com/office/drawing/2014/main" id="{D048DF33-1F93-4BCD-9CA7-BEB90F6D9964}"/>
              </a:ext>
            </a:extLst>
          </p:cNvPr>
          <p:cNvSpPr/>
          <p:nvPr/>
        </p:nvSpPr>
        <p:spPr>
          <a:xfrm>
            <a:off x="5116865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Zahnutá šipka nahoru 25">
            <a:extLst>
              <a:ext uri="{FF2B5EF4-FFF2-40B4-BE49-F238E27FC236}">
                <a16:creationId xmlns:a16="http://schemas.microsoft.com/office/drawing/2014/main" id="{061772AD-B26D-41E1-8302-56FC079A1B0F}"/>
              </a:ext>
            </a:extLst>
          </p:cNvPr>
          <p:cNvSpPr/>
          <p:nvPr/>
        </p:nvSpPr>
        <p:spPr>
          <a:xfrm>
            <a:off x="7086280" y="2013982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81B9859D-FCC7-4B87-A5A4-E0A0318FD9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84777" y="3305908"/>
            <a:ext cx="1859196" cy="470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hospitalizovaní v nemocnicích regionu</a:t>
            </a:r>
          </a:p>
        </p:txBody>
      </p:sp>
      <p:graphicFrame>
        <p:nvGraphicFramePr>
          <p:cNvPr id="17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1038685"/>
              </p:ext>
            </p:extLst>
          </p:nvPr>
        </p:nvGraphicFramePr>
        <p:xfrm>
          <a:off x="557349" y="1772386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403549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9062719" y="2572320"/>
            <a:ext cx="29233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akutní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5.2021 00:1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31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25"/>
          <p:cNvSpPr/>
          <p:nvPr/>
        </p:nvSpPr>
        <p:spPr>
          <a:xfrm>
            <a:off x="3283711" y="5703978"/>
            <a:ext cx="34392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Nemocnice s aktualizací starší 48 hod.: 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6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x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9" name="Obrázek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816" y="6011755"/>
            <a:ext cx="8628301" cy="258300"/>
          </a:xfrm>
          <a:prstGeom prst="rect">
            <a:avLst/>
          </a:prstGeom>
        </p:spPr>
      </p:pic>
      <p:graphicFrame>
        <p:nvGraphicFramePr>
          <p:cNvPr id="4" name="Tabulka 3"/>
          <p:cNvGraphicFramePr>
            <a:graphicFrameLocks noGrp="1"/>
          </p:cNvGraphicFramePr>
          <p:nvPr>
            <p:extLst/>
          </p:nvPr>
        </p:nvGraphicFramePr>
        <p:xfrm>
          <a:off x="1393813" y="999768"/>
          <a:ext cx="7350368" cy="4811807"/>
        </p:xfrm>
        <a:graphic>
          <a:graphicData uri="http://schemas.openxmlformats.org/drawingml/2006/table">
            <a:tbl>
              <a:tblPr/>
              <a:tblGrid>
                <a:gridCol w="1879137">
                  <a:extLst>
                    <a:ext uri="{9D8B030D-6E8A-4147-A177-3AD203B41FA5}">
                      <a16:colId xmlns:a16="http://schemas.microsoft.com/office/drawing/2014/main" val="152024075"/>
                    </a:ext>
                  </a:extLst>
                </a:gridCol>
                <a:gridCol w="1150493">
                  <a:extLst>
                    <a:ext uri="{9D8B030D-6E8A-4147-A177-3AD203B41FA5}">
                      <a16:colId xmlns:a16="http://schemas.microsoft.com/office/drawing/2014/main" val="2149684101"/>
                    </a:ext>
                  </a:extLst>
                </a:gridCol>
                <a:gridCol w="1064205">
                  <a:extLst>
                    <a:ext uri="{9D8B030D-6E8A-4147-A177-3AD203B41FA5}">
                      <a16:colId xmlns:a16="http://schemas.microsoft.com/office/drawing/2014/main" val="289149312"/>
                    </a:ext>
                  </a:extLst>
                </a:gridCol>
                <a:gridCol w="1054619">
                  <a:extLst>
                    <a:ext uri="{9D8B030D-6E8A-4147-A177-3AD203B41FA5}">
                      <a16:colId xmlns:a16="http://schemas.microsoft.com/office/drawing/2014/main" val="4209621648"/>
                    </a:ext>
                  </a:extLst>
                </a:gridCol>
                <a:gridCol w="1099359">
                  <a:extLst>
                    <a:ext uri="{9D8B030D-6E8A-4147-A177-3AD203B41FA5}">
                      <a16:colId xmlns:a16="http://schemas.microsoft.com/office/drawing/2014/main" val="1352465714"/>
                    </a:ext>
                  </a:extLst>
                </a:gridCol>
                <a:gridCol w="1102555">
                  <a:extLst>
                    <a:ext uri="{9D8B030D-6E8A-4147-A177-3AD203B41FA5}">
                      <a16:colId xmlns:a16="http://schemas.microsoft.com/office/drawing/2014/main" val="1869198792"/>
                    </a:ext>
                  </a:extLst>
                </a:gridCol>
              </a:tblGrid>
              <a:tr h="202834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akutních lůžek (ARO + JIP) v ČR k 3.5. 2021, 13 h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719619"/>
                  </a:ext>
                </a:extLst>
              </a:tr>
              <a:tr h="202834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7825697"/>
                  </a:ext>
                </a:extLst>
              </a:tr>
              <a:tr h="22915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a I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1753984"/>
                  </a:ext>
                </a:extLst>
              </a:tr>
              <a:tr h="66291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/CPAP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/CPAP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/NIV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/NIV pro Covid+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570738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477011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485780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8423635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028371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635034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433453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481608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537606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2100791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6693606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373063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385359"/>
                  </a:ext>
                </a:extLst>
              </a:tr>
              <a:tr h="20460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5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748024"/>
                  </a:ext>
                </a:extLst>
              </a:tr>
              <a:tr h="220971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353749"/>
                  </a:ext>
                </a:extLst>
              </a:tr>
              <a:tr h="23734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13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9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</a:t>
                      </a:r>
                    </a:p>
                  </a:txBody>
                  <a:tcPr marL="7410" marR="7410" marT="74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7410" marR="7410" marT="74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6874597"/>
                  </a:ext>
                </a:extLst>
              </a:tr>
              <a:tr h="378476"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7410" marR="7410" marT="74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5498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7749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graphicFrame>
        <p:nvGraphicFramePr>
          <p:cNvPr id="7" name="Zástupný symbol pro obsah 6"/>
          <p:cNvGraphicFramePr>
            <a:graphicFrameLocks noGrp="1"/>
          </p:cNvGraphicFramePr>
          <p:nvPr>
            <p:ph idx="1"/>
            <p:extLst/>
          </p:nvPr>
        </p:nvGraphicFramePr>
        <p:xfrm>
          <a:off x="332819" y="1014143"/>
          <a:ext cx="8888359" cy="254240"/>
        </p:xfrm>
        <a:graphic>
          <a:graphicData uri="http://schemas.openxmlformats.org/drawingml/2006/table">
            <a:tbl>
              <a:tblPr/>
              <a:tblGrid>
                <a:gridCol w="4173915">
                  <a:extLst>
                    <a:ext uri="{9D8B030D-6E8A-4147-A177-3AD203B41FA5}">
                      <a16:colId xmlns:a16="http://schemas.microsoft.com/office/drawing/2014/main" val="747149834"/>
                    </a:ext>
                  </a:extLst>
                </a:gridCol>
                <a:gridCol w="1240979">
                  <a:extLst>
                    <a:ext uri="{9D8B030D-6E8A-4147-A177-3AD203B41FA5}">
                      <a16:colId xmlns:a16="http://schemas.microsoft.com/office/drawing/2014/main" val="2366994226"/>
                    </a:ext>
                  </a:extLst>
                </a:gridCol>
                <a:gridCol w="1237782">
                  <a:extLst>
                    <a:ext uri="{9D8B030D-6E8A-4147-A177-3AD203B41FA5}">
                      <a16:colId xmlns:a16="http://schemas.microsoft.com/office/drawing/2014/main" val="963647003"/>
                    </a:ext>
                  </a:extLst>
                </a:gridCol>
                <a:gridCol w="1007497">
                  <a:extLst>
                    <a:ext uri="{9D8B030D-6E8A-4147-A177-3AD203B41FA5}">
                      <a16:colId xmlns:a16="http://schemas.microsoft.com/office/drawing/2014/main" val="2206882935"/>
                    </a:ext>
                  </a:extLst>
                </a:gridCol>
                <a:gridCol w="1228186">
                  <a:extLst>
                    <a:ext uri="{9D8B030D-6E8A-4147-A177-3AD203B41FA5}">
                      <a16:colId xmlns:a16="http://schemas.microsoft.com/office/drawing/2014/main" val="3417075034"/>
                    </a:ext>
                  </a:extLst>
                </a:gridCol>
              </a:tblGrid>
              <a:tr h="254240">
                <a:tc>
                  <a:txBody>
                    <a:bodyPr/>
                    <a:lstStyle/>
                    <a:p>
                      <a:pPr algn="r" fontAlgn="b"/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74" marR="6874" marT="6874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138154"/>
                  </a:ext>
                </a:extLst>
              </a:tr>
            </a:tbl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8933743" y="2593981"/>
            <a:ext cx="31862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azená standard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ůžka C+ pacien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5.2021 00:19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47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6" name="Obráze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819" y="6001956"/>
            <a:ext cx="8434669" cy="258300"/>
          </a:xfrm>
          <a:prstGeom prst="rect">
            <a:avLst/>
          </a:prstGeom>
        </p:spPr>
      </p:pic>
      <p:sp>
        <p:nvSpPr>
          <p:cNvPr id="27" name="Obdélník 26"/>
          <p:cNvSpPr/>
          <p:nvPr/>
        </p:nvSpPr>
        <p:spPr>
          <a:xfrm>
            <a:off x="3122260" y="5632624"/>
            <a:ext cx="38605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Nemocnice s aktualizací starší 48 hod.: 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6x</a:t>
            </a: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/>
          </p:nvPr>
        </p:nvGraphicFramePr>
        <p:xfrm>
          <a:off x="1469111" y="942199"/>
          <a:ext cx="5722467" cy="4726064"/>
        </p:xfrm>
        <a:graphic>
          <a:graphicData uri="http://schemas.openxmlformats.org/drawingml/2006/table">
            <a:tbl>
              <a:tblPr/>
              <a:tblGrid>
                <a:gridCol w="2158698">
                  <a:extLst>
                    <a:ext uri="{9D8B030D-6E8A-4147-A177-3AD203B41FA5}">
                      <a16:colId xmlns:a16="http://schemas.microsoft.com/office/drawing/2014/main" val="3536568354"/>
                    </a:ext>
                  </a:extLst>
                </a:gridCol>
                <a:gridCol w="1216663">
                  <a:extLst>
                    <a:ext uri="{9D8B030D-6E8A-4147-A177-3AD203B41FA5}">
                      <a16:colId xmlns:a16="http://schemas.microsoft.com/office/drawing/2014/main" val="813226624"/>
                    </a:ext>
                  </a:extLst>
                </a:gridCol>
                <a:gridCol w="1207083">
                  <a:extLst>
                    <a:ext uri="{9D8B030D-6E8A-4147-A177-3AD203B41FA5}">
                      <a16:colId xmlns:a16="http://schemas.microsoft.com/office/drawing/2014/main" val="3496932500"/>
                    </a:ext>
                  </a:extLst>
                </a:gridCol>
                <a:gridCol w="1140023">
                  <a:extLst>
                    <a:ext uri="{9D8B030D-6E8A-4147-A177-3AD203B41FA5}">
                      <a16:colId xmlns:a16="http://schemas.microsoft.com/office/drawing/2014/main" val="3837700503"/>
                    </a:ext>
                  </a:extLst>
                </a:gridCol>
              </a:tblGrid>
              <a:tr h="427276">
                <a:tc gridSpan="4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3.5. 2021, 13 h</a:t>
                      </a:r>
                    </a:p>
                  </a:txBody>
                  <a:tcPr marL="7257" marR="7257" marT="725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2469962"/>
                  </a:ext>
                </a:extLst>
              </a:tr>
              <a:tr h="22919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081507"/>
                  </a:ext>
                </a:extLst>
              </a:tr>
              <a:tr h="663014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standardní s kyslíkem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951627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6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685159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1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3918057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8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311873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211078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3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954875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8386464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0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707673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4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331718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66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2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1551331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3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521359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54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420701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42773"/>
                  </a:ext>
                </a:extLst>
              </a:tr>
              <a:tr h="20463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16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904833"/>
                  </a:ext>
                </a:extLst>
              </a:tr>
              <a:tr h="22100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2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82054"/>
                  </a:ext>
                </a:extLst>
              </a:tr>
              <a:tr h="23737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48</a:t>
                      </a:r>
                    </a:p>
                  </a:txBody>
                  <a:tcPr marL="7257" marR="7257" marT="725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0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99</a:t>
                      </a:r>
                    </a:p>
                  </a:txBody>
                  <a:tcPr marL="7257" marR="7257" marT="725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8062368"/>
                  </a:ext>
                </a:extLst>
              </a:tr>
              <a:tr h="278302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</a:t>
                      </a:r>
                    </a:p>
                  </a:txBody>
                  <a:tcPr marL="7257" marR="7257" marT="725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921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7993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97626" y="165100"/>
            <a:ext cx="9379857" cy="908050"/>
          </a:xfrm>
        </p:spPr>
        <p:txBody>
          <a:bodyPr>
            <a:noAutofit/>
          </a:bodyPr>
          <a:lstStyle/>
          <a:p>
            <a:r>
              <a:rPr lang="cs-CZ" sz="2400" dirty="0" smtClean="0"/>
              <a:t>NDLP – vývoj obsazenosti C+ lůžek v ČR</a:t>
            </a:r>
            <a:endParaRPr lang="cs-CZ" sz="2400" dirty="0"/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606557" y="1073150"/>
          <a:ext cx="7915511" cy="51518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855646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109" y="3683584"/>
            <a:ext cx="11623781" cy="1583741"/>
          </a:xfrm>
        </p:spPr>
        <p:txBody>
          <a:bodyPr>
            <a:normAutofit fontScale="92500"/>
          </a:bodyPr>
          <a:lstStyle/>
          <a:p>
            <a:r>
              <a:rPr lang="cs-CZ" sz="5200" b="1" dirty="0"/>
              <a:t>Dlouhodobé predikce zátěže nemocnic</a:t>
            </a:r>
          </a:p>
          <a:p>
            <a:r>
              <a:rPr lang="cs-CZ" sz="3000" i="1" dirty="0" smtClean="0"/>
              <a:t>Původní scénáře </a:t>
            </a:r>
            <a:r>
              <a:rPr lang="cs-CZ" sz="3000" i="1" dirty="0"/>
              <a:t>kalkulující s rychlým efektem přijatých opatření </a:t>
            </a:r>
            <a:r>
              <a:rPr lang="cs-CZ" sz="3000" i="1" dirty="0" smtClean="0"/>
              <a:t>po </a:t>
            </a:r>
            <a:r>
              <a:rPr lang="cs-CZ" sz="3000" i="1" dirty="0"/>
              <a:t>8.3. 2021</a:t>
            </a:r>
          </a:p>
        </p:txBody>
      </p:sp>
      <p:sp>
        <p:nvSpPr>
          <p:cNvPr id="4" name="Obdélník 3"/>
          <p:cNvSpPr/>
          <p:nvPr/>
        </p:nvSpPr>
        <p:spPr>
          <a:xfrm>
            <a:off x="661166" y="5107068"/>
            <a:ext cx="108696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kulována silná změna v populačních trendech již od prvního týdne v březnu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následným pozitivním dopadem na zátěž nemocnic od cca 14.3. 2021. </a:t>
            </a:r>
            <a:r>
              <a:rPr lang="cs-CZ" dirty="0" smtClean="0">
                <a:solidFill>
                  <a:prstClr val="black"/>
                </a:solidFill>
                <a:latin typeface="Calibri" panose="020F0502020204030204"/>
              </a:rPr>
              <a:t>Kapitola hodnotí původní modely, ve kterých ještě není uvažován vliv vakcinace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13811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41403" y="178376"/>
            <a:ext cx="118849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ouhodobější predikce vývoje zátěže nemocnic a zdravotních dopadů: modely kalkulující s rychlým efektem přijatých opatření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</a:t>
            </a:r>
            <a:r>
              <a:rPr kumimoji="0" lang="cs-CZ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3. 2021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119203" y="1823935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730220" y="2505549"/>
            <a:ext cx="104181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této variantě modelů </a:t>
            </a:r>
            <a:r>
              <a:rPr kumimoji="0" lang="cs-CZ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l zabudován předpoklad relativně rychlé změny 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populačních trendech již od počátku března, s pozitivním dopadem na zátěž nemocnic od cca 14.3. 2021. Zátěž nemocnic </a:t>
            </a:r>
            <a:r>
              <a:rPr kumimoji="0" lang="cs-CZ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lminovala 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ž do poloviny března.  </a:t>
            </a:r>
          </a:p>
        </p:txBody>
      </p:sp>
      <p:sp>
        <p:nvSpPr>
          <p:cNvPr id="12" name="Šipka dolů 11"/>
          <p:cNvSpPr/>
          <p:nvPr/>
        </p:nvSpPr>
        <p:spPr>
          <a:xfrm>
            <a:off x="5119202" y="3931769"/>
            <a:ext cx="1640138" cy="455724"/>
          </a:xfrm>
          <a:prstGeom prst="downArrow">
            <a:avLst/>
          </a:prstGeom>
          <a:solidFill>
            <a:srgbClr val="305983"/>
          </a:solidFill>
          <a:ln w="12700" cap="flat" cmpd="sng" algn="ctr">
            <a:solidFill>
              <a:srgbClr val="30598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328476" y="4613384"/>
            <a:ext cx="112215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b="1" kern="0" dirty="0" smtClean="0">
                <a:solidFill>
                  <a:srgbClr val="C00000"/>
                </a:solidFill>
                <a:latin typeface="Calibri" panose="020F0502020204030204"/>
              </a:rPr>
              <a:t>Tyto scénáře se dle předpokladů naplnily a epidemie začala na populační úrovni významně zpomalovat již v 1. polovině března. Pozitivní dopad na zátěž nemocnic avšak nastal až po 15. březnu.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y </a:t>
            </a:r>
            <a:r>
              <a:rPr lang="cs-CZ" sz="2400" b="1" kern="0" dirty="0" smtClean="0">
                <a:solidFill>
                  <a:srgbClr val="C00000"/>
                </a:solidFill>
                <a:latin typeface="Calibri" panose="020F0502020204030204"/>
              </a:rPr>
              <a:t>z konce února </a:t>
            </a:r>
            <a:r>
              <a:rPr kumimoji="0" lang="cs-CZ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sou nadále funkční a predikce rychlého poklesu zátěže se shodují</a:t>
            </a:r>
            <a:r>
              <a:rPr kumimoji="0" lang="cs-CZ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 realitou. Modely byly nově doplněn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předpokládaný efekt vakcinace </a:t>
            </a:r>
            <a:r>
              <a:rPr kumimoji="0" lang="cs-CZ" sz="2400" b="1" i="0" u="none" strike="noStrike" kern="0" cap="none" spc="0" normalizeH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iorních</a:t>
            </a:r>
            <a:r>
              <a:rPr kumimoji="0" lang="cs-CZ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upin. </a:t>
            </a:r>
            <a:endParaRPr kumimoji="0" lang="cs-CZ" sz="2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07034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endParaRPr lang="cs-CZ" dirty="0">
              <a:latin typeface="+mj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9623284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A7E4FAD-9A6D-4CCA-B14F-AA0E330C5B2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19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44736" y="1196641"/>
            <a:ext cx="3328687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,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ychlé brždění epidemie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563589" y="2079979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pomalý efekt</a:t>
            </a:r>
          </a:p>
        </p:txBody>
      </p:sp>
      <p:sp>
        <p:nvSpPr>
          <p:cNvPr id="22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63589" y="2619751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2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rychlý efekt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8554162" y="3159523"/>
            <a:ext cx="330983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omalý efekt vakcinace předpokládá dosažení plné ochrany až 14 dní po 2. dávce. Rychlý efekt naopak kalkuluje s ochranou očkovaného již po 1. dávce vakcinace. </a:t>
            </a:r>
          </a:p>
          <a:p>
            <a:r>
              <a:rPr lang="cs-CZ" b="1" dirty="0" smtClean="0"/>
              <a:t>Je patrné, že na celkových počtech hospitalizovaných se již vakcinace projevuje, byť ještě ne podle rychlého scénáře.  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86320648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aktuálně hospitalizovaných</a:t>
            </a:r>
            <a:r>
              <a:rPr lang="en-US" u="sng" dirty="0">
                <a:latin typeface="+mj-lt"/>
              </a:rPr>
              <a:t> </a:t>
            </a:r>
            <a:r>
              <a:rPr lang="en-US" u="sng" dirty="0" err="1">
                <a:latin typeface="+mj-lt"/>
              </a:rPr>
              <a:t>na</a:t>
            </a:r>
            <a:r>
              <a:rPr lang="en-US" u="sng" dirty="0">
                <a:latin typeface="+mj-lt"/>
              </a:rPr>
              <a:t> JIP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B364D7-B9DD-4ACF-A330-0F27E8BA3BF5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DB44BF5-DF2B-43BD-A159-972F53E32F4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7246408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44736" y="1224923"/>
            <a:ext cx="3328687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,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ychlé brždění epidemie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563589" y="2108261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pomalý efekt</a:t>
            </a:r>
          </a:p>
        </p:txBody>
      </p:sp>
      <p:sp>
        <p:nvSpPr>
          <p:cNvPr id="15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63589" y="2648033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2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rychlý efekt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8563589" y="3289955"/>
            <a:ext cx="330983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omalý efekt vakcinace předpokládá dosažení plné ochrany až 14 dní po 2. dávce. Rychlý efekt naopak kalkuluje s ochranou očkovaného již po 1. dávce vakcinace. </a:t>
            </a:r>
          </a:p>
          <a:p>
            <a:r>
              <a:rPr lang="cs-CZ" b="1" dirty="0" smtClean="0"/>
              <a:t>Je patrné, že na počtech hospitalizovaných na JIP se efekt vakcinace zatím projevuje pouze částečně, a to až od počátku května 2021.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3554803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/>
          </p:nvPr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j-lt"/>
              </a:rPr>
              <a:t>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200673" y="1458954"/>
            <a:ext cx="34626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é s</a:t>
            </a:r>
            <a:r>
              <a:rPr kumimoji="0" lang="cs-CZ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énáře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ývoje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/>
        </p:nvSpPr>
        <p:spPr>
          <a:xfrm>
            <a:off x="4375026" y="821942"/>
            <a:ext cx="4061875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/>
        </p:nvSpPr>
        <p:spPr>
          <a:xfrm>
            <a:off x="4375026" y="2130847"/>
            <a:ext cx="4061875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významného zpomalení (R = 0,75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3736851" y="1088373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3736851" y="1727288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/>
        </p:nvSpPr>
        <p:spPr>
          <a:xfrm>
            <a:off x="89808" y="2867801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4375026" y="3147771"/>
            <a:ext cx="3135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77657" y="3507078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56838" y="3455548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4072790" y="3316032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4367535" y="338621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4072790" y="3539339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4375392" y="3611437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4072790" y="3762646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4072790" y="3985952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/>
        </p:nvSpPr>
        <p:spPr>
          <a:xfrm>
            <a:off x="9969686" y="298598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37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134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54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5 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4367535" y="3836656"/>
            <a:ext cx="313540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/>
        </p:nvSpPr>
        <p:spPr>
          <a:xfrm>
            <a:off x="8236228" y="3705117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300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535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709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107 predikovaných</a:t>
            </a:r>
          </a:p>
        </p:txBody>
      </p:sp>
    </p:spTree>
    <p:extLst>
      <p:ext uri="{BB962C8B-B14F-4D97-AF65-F5344CB8AC3E}">
        <p14:creationId xmlns:p14="http://schemas.microsoft.com/office/powerpoint/2010/main" val="24188296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nových hospitalizačních</a:t>
            </a:r>
            <a:r>
              <a:rPr lang="cs-CZ" dirty="0">
                <a:latin typeface="+mj-lt"/>
              </a:rPr>
              <a:t> případů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828607" y="3049018"/>
            <a:ext cx="4185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nových hospitalizačních případů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3BCB8F-8668-482B-AE73-37F5C6048A3E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5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30BB482-BBA1-4B51-97C3-EC21F9C9ABD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084125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44736" y="1224923"/>
            <a:ext cx="3328687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,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ychlé brždění epidemie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563589" y="2108261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pomalý efekt</a:t>
            </a:r>
          </a:p>
        </p:txBody>
      </p:sp>
      <p:sp>
        <p:nvSpPr>
          <p:cNvPr id="16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63589" y="2648033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2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rychlý efekt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8563589" y="3063711"/>
            <a:ext cx="330983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omalý efekt vakcinace předpokládá dosažení plné ochrany až 14 dní po 2. dávce. Rychlý efekt naopak kalkuluje s ochranou očkovaného již po 1. dávce vakcinace. </a:t>
            </a:r>
          </a:p>
          <a:p>
            <a:r>
              <a:rPr lang="cs-CZ" b="1" dirty="0" smtClean="0"/>
              <a:t>Je patrné, že na počtech nově hospitalizovaných se efekt vakcinace projevuje velmi významně – jde jistě o projev postupující </a:t>
            </a:r>
            <a:r>
              <a:rPr lang="cs-CZ" b="1" dirty="0" err="1" smtClean="0"/>
              <a:t>proočkovanosti</a:t>
            </a:r>
            <a:r>
              <a:rPr lang="cs-CZ" b="1" dirty="0" smtClean="0"/>
              <a:t> </a:t>
            </a:r>
            <a:r>
              <a:rPr lang="cs-CZ" b="1" dirty="0" err="1" smtClean="0"/>
              <a:t>seniorních</a:t>
            </a:r>
            <a:r>
              <a:rPr lang="cs-CZ" b="1" dirty="0" smtClean="0"/>
              <a:t> skupin obyvatel. 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28757691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j-lt"/>
              </a:rPr>
              <a:t>Predikovaný počet </a:t>
            </a:r>
            <a:r>
              <a:rPr lang="cs-CZ" u="sng" dirty="0">
                <a:latin typeface="+mj-lt"/>
              </a:rPr>
              <a:t>zemřelých</a:t>
            </a:r>
            <a:endParaRPr lang="cs-CZ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712917" y="3049018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zemřelých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F94ECE-5E3C-436E-B567-3B2634216AE7}"/>
              </a:ext>
            </a:extLst>
          </p:cNvPr>
          <p:cNvSpPr/>
          <p:nvPr/>
        </p:nvSpPr>
        <p:spPr>
          <a:xfrm>
            <a:off x="2999926" y="590503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:</a:t>
            </a:r>
          </a:p>
        </p:txBody>
      </p: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6216535-8B7F-43D5-81D9-9F3ED2725A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1653980"/>
              </p:ext>
            </p:ext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TextovéPole 8">
            <a:extLst>
              <a:ext uri="{FF2B5EF4-FFF2-40B4-BE49-F238E27FC236}">
                <a16:creationId xmlns:a16="http://schemas.microsoft.com/office/drawing/2014/main" id="{98BCF740-215F-4BF1-81D2-071D0AC1B1C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544736" y="1319191"/>
            <a:ext cx="3328687" cy="646331"/>
          </a:xfrm>
          <a:prstGeom prst="rect">
            <a:avLst/>
          </a:prstGeom>
          <a:solidFill>
            <a:srgbClr val="00B050"/>
          </a:solidFill>
          <a:ln>
            <a:solidFill>
              <a:srgbClr val="00CD6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lný dopad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tření,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ychlé brždění epidemie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29">
            <a:extLst>
              <a:ext uri="{FF2B5EF4-FFF2-40B4-BE49-F238E27FC236}">
                <a16:creationId xmlns:a16="http://schemas.microsoft.com/office/drawing/2014/main" id="{602F99BE-AFE6-47D2-9EA6-3318EF4317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63589" y="2202529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pomalý efekt</a:t>
            </a:r>
          </a:p>
        </p:txBody>
      </p:sp>
      <p:sp>
        <p:nvSpPr>
          <p:cNvPr id="20" name="TextovéPole 30">
            <a:extLst>
              <a:ext uri="{FF2B5EF4-FFF2-40B4-BE49-F238E27FC236}">
                <a16:creationId xmlns:a16="http://schemas.microsoft.com/office/drawing/2014/main" id="{99D48799-198A-4CCB-BABE-1DE98ED3211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563589" y="2742301"/>
            <a:ext cx="3328687" cy="307777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2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kcinace/rychlý efekt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563589" y="3063711"/>
            <a:ext cx="330983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omalý efekt vakcinace předpokládá dosažení plné ochrany až 14 dní po 2. dávce. Rychlý efekt naopak kalkuluje s ochranou očkovaného již po 1. dávce vakcinace. </a:t>
            </a:r>
          </a:p>
          <a:p>
            <a:r>
              <a:rPr lang="cs-CZ" b="1" dirty="0" smtClean="0"/>
              <a:t>Je patrné, že na počtech zemřelých se efekt vakcinace projevuje velmi významně – jde jistě o projev postupující </a:t>
            </a:r>
            <a:r>
              <a:rPr lang="cs-CZ" b="1" dirty="0" err="1" smtClean="0"/>
              <a:t>proočkovanosti</a:t>
            </a:r>
            <a:r>
              <a:rPr lang="cs-CZ" b="1" dirty="0" smtClean="0"/>
              <a:t> </a:t>
            </a:r>
            <a:r>
              <a:rPr lang="cs-CZ" b="1" dirty="0" err="1" smtClean="0"/>
              <a:t>seniorních</a:t>
            </a:r>
            <a:r>
              <a:rPr lang="cs-CZ" b="1" dirty="0" smtClean="0"/>
              <a:t> skupin obyvatel. 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4231972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A8F32B7D-2094-4232-AD78-BE19DD7B9AE6}"/>
              </a:ext>
            </a:extLst>
          </p:cNvPr>
          <p:cNvSpPr txBox="1"/>
          <p:nvPr/>
        </p:nvSpPr>
        <p:spPr>
          <a:xfrm>
            <a:off x="-200165" y="578574"/>
            <a:ext cx="12313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idemické křivky vytvořeny pomocí modelu pro krátkodobé predikce ÚZIS ČR,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</a:t>
            </a:r>
            <a:r>
              <a:rPr kumimoji="0" lang="cs-CZ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ídá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údajům z 27. 4. 2021.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cs-CZ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000" y="2574"/>
            <a:ext cx="6776706" cy="576000"/>
          </a:xfrm>
        </p:spPr>
        <p:txBody>
          <a:bodyPr/>
          <a:lstStyle/>
          <a:p>
            <a:r>
              <a:rPr lang="cs-CZ" dirty="0" err="1"/>
              <a:t>Rekalibrace</a:t>
            </a:r>
            <a:r>
              <a:rPr lang="cs-CZ" dirty="0"/>
              <a:t> prediktivního modelu pro </a:t>
            </a:r>
            <a:r>
              <a:rPr lang="cs-CZ" u="sng" dirty="0"/>
              <a:t>nové scénáře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2CDF3C9D-B366-482C-9DEE-848BF9D72AE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775" y="1696577"/>
          <a:ext cx="12024000" cy="445721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93810515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7255013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89585356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308321464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878682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891010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40384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26434448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148050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091220691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pPr algn="l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cs-CZ" sz="1600" u="sng" dirty="0"/>
                        <a:t>Predikovaný celkový počet</a:t>
                      </a:r>
                      <a:r>
                        <a:rPr lang="cs-CZ" sz="1600" u="none" dirty="0"/>
                        <a:t> </a:t>
                      </a:r>
                      <a:br>
                        <a:rPr lang="cs-CZ" sz="1600" u="none" dirty="0"/>
                      </a:br>
                      <a:r>
                        <a:rPr lang="cs-CZ" sz="1600" u="none" dirty="0"/>
                        <a:t>N</a:t>
                      </a:r>
                      <a:r>
                        <a:rPr lang="cs-CZ" sz="1600" dirty="0"/>
                        <a:t>ově prokázané nákazy COVID-19</a:t>
                      </a:r>
                      <a:endParaRPr lang="cs-CZ" sz="16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lita: naměřen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dno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u="sng" dirty="0"/>
                        <a:t>Predikovaný průměrný denní počet</a:t>
                      </a:r>
                      <a:r>
                        <a:rPr lang="cs-CZ" sz="1600" dirty="0"/>
                        <a:t> Nově prokázané nákazy COVID-19</a:t>
                      </a:r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600" b="1" dirty="0"/>
                        <a:t>Realita: naměřené</a:t>
                      </a:r>
                    </a:p>
                    <a:p>
                      <a:pPr algn="ctr"/>
                      <a:r>
                        <a:rPr lang="cs-CZ" sz="1600" b="1" dirty="0"/>
                        <a:t>hodnot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687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dnota R</a:t>
                      </a:r>
                      <a:br>
                        <a:rPr lang="cs-CZ" sz="16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d 19</a:t>
                      </a:r>
                      <a:r>
                        <a:rPr lang="en-U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cs-CZ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.)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85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,9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,</a:t>
                      </a: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1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+mj-lt"/>
                        </a:rPr>
                        <a:t>0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FF"/>
                        </a:highlight>
                        <a:latin typeface="+mj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četně víkendů</a:t>
                      </a:r>
                      <a:endParaRPr lang="en-US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highlight>
                            <a:srgbClr val="FFFFFF"/>
                          </a:highlight>
                        </a:rPr>
                        <a:t>denní průměr v pracovních dnech</a:t>
                      </a:r>
                      <a:endParaRPr lang="cs-CZ" sz="1200" dirty="0">
                        <a:highlight>
                          <a:srgbClr val="FFFFFF"/>
                        </a:highligh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8491739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cs-CZ" sz="1450" b="1" u="none" strike="noStrike" dirty="0">
                          <a:effectLst/>
                        </a:rPr>
                        <a:t>.–9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1 tisí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9 tisíc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7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9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72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652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21032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dirty="0">
                          <a:effectLst/>
                        </a:rPr>
                        <a:t>Období </a:t>
                      </a:r>
                      <a:r>
                        <a:rPr lang="cs-CZ" sz="1450" b="1" u="none" strike="noStrike" dirty="0">
                          <a:effectLst/>
                        </a:rPr>
                        <a:t>10.–16. 5.</a:t>
                      </a:r>
                      <a:endParaRPr lang="cs-CZ" sz="14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6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8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808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57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14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2736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r>
                        <a:rPr lang="cs-CZ" sz="1450" b="1" u="none" strike="noStrike" dirty="0">
                          <a:effectLst/>
                        </a:rPr>
                        <a:t>.–23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,1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,5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7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49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43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70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  <a:endParaRPr kumimoji="0" lang="cs-CZ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466947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.</a:t>
                      </a:r>
                      <a:r>
                        <a:rPr lang="cs-CZ" sz="1450" b="1" u="none" strike="noStrike" dirty="0">
                          <a:effectLst/>
                        </a:rPr>
                        <a:t>–30. 5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,4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,7 tisíce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 tisíc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240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306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 33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46171"/>
                  </a:ext>
                </a:extLst>
              </a:tr>
              <a:tr h="562258">
                <a:tc>
                  <a:txBody>
                    <a:bodyPr/>
                    <a:lstStyle/>
                    <a:p>
                      <a:pPr marL="9207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5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obí </a:t>
                      </a:r>
                      <a:r>
                        <a:rPr lang="cs-CZ" sz="14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. 5</a:t>
                      </a:r>
                      <a:r>
                        <a:rPr lang="cs-CZ" sz="1450" b="1" u="none" strike="noStrike" dirty="0">
                          <a:effectLst/>
                        </a:rPr>
                        <a:t>–6. 6.</a:t>
                      </a:r>
                      <a:endParaRPr lang="cs-CZ" sz="145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,2 tisíc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 tisíc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2 tisíc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032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184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049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?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339872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E4A0DC13-0AB7-42C0-B44A-C8095E8723E9}"/>
              </a:ext>
            </a:extLst>
          </p:cNvPr>
          <p:cNvSpPr txBox="1"/>
          <p:nvPr/>
        </p:nvSpPr>
        <p:spPr>
          <a:xfrm>
            <a:off x="228000" y="6279426"/>
            <a:ext cx="11734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počty odpovídají modelovaným hodnotám (kalibrovaným na hodnoty pozorované v pracovních dnech), naměřené hodnoty zahrnují všechny počty hlášené do databáze, včetně zřetelně nižších záchytů nemoci v nepracovních dnech. V případě denního průměrného počtu jsou uvedeny i hodnoty, které zahrnují pouze pracovní dny.</a:t>
            </a:r>
          </a:p>
        </p:txBody>
      </p:sp>
      <p:sp>
        <p:nvSpPr>
          <p:cNvPr id="3" name="Šipka dolů 2"/>
          <p:cNvSpPr/>
          <p:nvPr/>
        </p:nvSpPr>
        <p:spPr>
          <a:xfrm>
            <a:off x="31107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7987553" y="1298857"/>
            <a:ext cx="842683" cy="46053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5302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4">
            <a:extLst>
              <a:ext uri="{FF2B5EF4-FFF2-40B4-BE49-F238E27FC236}">
                <a16:creationId xmlns:a16="http://schemas.microsoft.com/office/drawing/2014/main" id="{B1276870-99EE-4D94-8977-D4A2442A6BFE}"/>
              </a:ext>
            </a:extLst>
          </p:cNvPr>
          <p:cNvGraphicFramePr/>
          <p:nvPr>
            <p:extLst/>
          </p:nvPr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Modelov</a:t>
            </a:r>
            <a:r>
              <a:rPr lang="cs-CZ" dirty="0">
                <a:latin typeface="+mj-lt"/>
              </a:rPr>
              <a:t>é scénáře: </a:t>
            </a:r>
            <a:r>
              <a:rPr lang="cs-CZ" dirty="0" err="1">
                <a:latin typeface="+mj-lt"/>
              </a:rPr>
              <a:t>7denní</a:t>
            </a:r>
            <a:r>
              <a:rPr lang="cs-CZ" dirty="0">
                <a:latin typeface="+mj-lt"/>
              </a:rPr>
              <a:t> hodnoty na 100 tisíc obyvatel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2191937" y="79741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5485644" y="1173002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5782825" y="1121195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897192" y="952453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2191937" y="102263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897192" y="117576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/>
        </p:nvSpPr>
        <p:spPr>
          <a:xfrm>
            <a:off x="2191937" y="124785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897192" y="1399067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897192" y="1622373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2184080" y="1473077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27. 4. 2021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483263" y="3360473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97E0517-3EC9-44C6-B315-D6D19D4240FA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2 % pr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079DCD2B-EC27-47E9-B6A4-F6F1F3F1E16B}"/>
              </a:ext>
            </a:extLst>
          </p:cNvPr>
          <p:cNvSpPr txBox="1"/>
          <p:nvPr/>
        </p:nvSpPr>
        <p:spPr>
          <a:xfrm>
            <a:off x="11525360" y="4820098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30FE691E-C2BD-4B30-A169-AABD4604D046}"/>
              </a:ext>
            </a:extLst>
          </p:cNvPr>
          <p:cNvSpPr txBox="1"/>
          <p:nvPr/>
        </p:nvSpPr>
        <p:spPr>
          <a:xfrm>
            <a:off x="11525360" y="5242445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ECB5EFCC-D0F1-494C-9551-8227F8750606}"/>
              </a:ext>
            </a:extLst>
          </p:cNvPr>
          <p:cNvSpPr txBox="1"/>
          <p:nvPr/>
        </p:nvSpPr>
        <p:spPr>
          <a:xfrm>
            <a:off x="10034632" y="1467622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 6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4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7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CF9D18DF-5F8D-4144-AF44-4F3BB83E5008}"/>
              </a:ext>
            </a:extLst>
          </p:cNvPr>
          <p:cNvSpPr txBox="1"/>
          <p:nvPr/>
        </p:nvSpPr>
        <p:spPr>
          <a:xfrm>
            <a:off x="7944179" y="1467622"/>
            <a:ext cx="1945048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5. 2021 </a:t>
            </a:r>
            <a:b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8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100 tisíc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8458859" y="1079342"/>
            <a:ext cx="2973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</p:spTree>
    <p:extLst>
      <p:ext uri="{BB962C8B-B14F-4D97-AF65-F5344CB8AC3E}">
        <p14:creationId xmlns:p14="http://schemas.microsoft.com/office/powerpoint/2010/main" val="40038246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/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7ECCBA62-40CE-4066-9E7F-E76D93B65359}"/>
              </a:ext>
            </a:extLst>
          </p:cNvPr>
          <p:cNvGraphicFramePr>
            <a:graphicFrameLocks noGrp="1"/>
          </p:cNvGraphicFramePr>
          <p:nvPr/>
        </p:nvGraphicFramePr>
        <p:xfrm>
          <a:off x="922214" y="631457"/>
          <a:ext cx="10328489" cy="3025897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  <a:endParaRPr lang="cs-CZ" sz="16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8. 3.–3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. 4.–10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. 4.–17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8. 4.–24. 4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. 4.–1. 5.</a:t>
                      </a:r>
                    </a:p>
                  </a:txBody>
                  <a:tcPr marL="7620" marR="7620" marT="762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5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0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6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9 případů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2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23,5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9,3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-15,9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6308715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ktuální odhad pro ČR: 0,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Šipka doprava 58">
            <a:extLst>
              <a:ext uri="{FF2B5EF4-FFF2-40B4-BE49-F238E27FC236}">
                <a16:creationId xmlns:a16="http://schemas.microsoft.com/office/drawing/2014/main" id="{F4560E84-2F4A-4BEA-BD3C-44D5B82984B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697074" flipV="1">
            <a:off x="11145324" y="5037652"/>
            <a:ext cx="521883" cy="2811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70832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Zahnutá šipka nahoru 25">
            <a:extLst>
              <a:ext uri="{FF2B5EF4-FFF2-40B4-BE49-F238E27FC236}">
                <a16:creationId xmlns:a16="http://schemas.microsoft.com/office/drawing/2014/main" id="{B7104930-024A-4044-A0CF-2DE6C3BD7F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72714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Zahnutá šipka nahoru 25">
            <a:extLst>
              <a:ext uri="{FF2B5EF4-FFF2-40B4-BE49-F238E27FC236}">
                <a16:creationId xmlns:a16="http://schemas.microsoft.com/office/drawing/2014/main" id="{A310F353-468A-478C-85AA-BAA4E17F262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374596" y="2130150"/>
            <a:ext cx="1944000" cy="497840"/>
          </a:xfrm>
          <a:prstGeom prst="curved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ů pozitivních diagnóz ukazuje na pokračující zpomalování epidemie</a:t>
            </a:r>
          </a:p>
        </p:txBody>
      </p:sp>
    </p:spTree>
    <p:extLst>
      <p:ext uri="{BB962C8B-B14F-4D97-AF65-F5344CB8AC3E}">
        <p14:creationId xmlns:p14="http://schemas.microsoft.com/office/powerpoint/2010/main" val="38162902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ovéPole 18"/>
          <p:cNvSpPr txBox="1"/>
          <p:nvPr/>
        </p:nvSpPr>
        <p:spPr>
          <a:xfrm>
            <a:off x="169682" y="1917135"/>
            <a:ext cx="1180235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á </a:t>
            </a:r>
            <a:r>
              <a:rPr kumimoji="0" lang="cs-CZ" sz="3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ibrace modelu pro rychlé brždění epidemie provedená dne 5.3. 2021</a:t>
            </a:r>
          </a:p>
          <a:p>
            <a:pPr algn="ctr">
              <a:defRPr/>
            </a:pPr>
            <a:r>
              <a:rPr lang="cs-CZ" sz="3200" i="1" dirty="0" smtClean="0"/>
              <a:t>Model </a:t>
            </a:r>
            <a:r>
              <a:rPr lang="cs-CZ" sz="3200" i="1" dirty="0"/>
              <a:t>předpokládal snížení mobility obyvatel a posílení dodržování opatření již od konce února </a:t>
            </a:r>
            <a:r>
              <a:rPr lang="cs-CZ" sz="3200" i="1" dirty="0" smtClean="0"/>
              <a:t>2021.</a:t>
            </a:r>
            <a:endParaRPr lang="cs-CZ" sz="3200" i="1" kern="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3400" i="1" kern="0" dirty="0">
              <a:latin typeface="Calibri" panose="020F0502020204030204"/>
            </a:endParaRPr>
          </a:p>
          <a:p>
            <a:pPr algn="ctr">
              <a:defRPr/>
            </a:pPr>
            <a:r>
              <a:rPr lang="cs-CZ" sz="3400" b="1" i="1" dirty="0" smtClean="0">
                <a:solidFill>
                  <a:srgbClr val="C00000"/>
                </a:solidFill>
              </a:rPr>
              <a:t>Aktuální vývoj ukazuje na rychlejší zpomalování epidemie. </a:t>
            </a:r>
          </a:p>
          <a:p>
            <a:pPr algn="ctr">
              <a:defRPr/>
            </a:pPr>
            <a:r>
              <a:rPr lang="cs-CZ" sz="3400" b="1" i="1" dirty="0" smtClean="0">
                <a:solidFill>
                  <a:srgbClr val="C00000"/>
                </a:solidFill>
              </a:rPr>
              <a:t>V tomto trendu se již s vysokou pravděpodobností promítá postupující očkování populace. </a:t>
            </a:r>
            <a:endParaRPr kumimoji="0" lang="cs-CZ" sz="3400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Šipka dolů 1"/>
          <p:cNvSpPr/>
          <p:nvPr/>
        </p:nvSpPr>
        <p:spPr>
          <a:xfrm>
            <a:off x="5420413" y="4075284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/>
          <p:cNvSpPr/>
          <p:nvPr/>
        </p:nvSpPr>
        <p:spPr>
          <a:xfrm>
            <a:off x="169682" y="254524"/>
            <a:ext cx="118864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2400" b="1" kern="0" dirty="0"/>
              <a:t>Dlouhodobá predikce dle modelu SEIR, který byl pro epidemii COVID-19 v ČR adaptován na počátku dubna 2020. </a:t>
            </a:r>
            <a:r>
              <a:rPr lang="cs-CZ" sz="2400" i="1" kern="0" dirty="0">
                <a:solidFill>
                  <a:prstClr val="black"/>
                </a:solidFill>
              </a:rPr>
              <a:t>Predikce pro rizikový vývoj vyvolaný nárůstem rizikových kontaktů nebo zvýšením reprodukční dynamiky nákazy (virtuální efekt případného opětovného uvolnění nebo efekt šíření nakažlivějších forem viru). </a:t>
            </a:r>
          </a:p>
        </p:txBody>
      </p:sp>
      <p:sp>
        <p:nvSpPr>
          <p:cNvPr id="5" name="Šipka dolů 4"/>
          <p:cNvSpPr/>
          <p:nvPr/>
        </p:nvSpPr>
        <p:spPr>
          <a:xfrm>
            <a:off x="5420413" y="6201066"/>
            <a:ext cx="977774" cy="4234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5867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CAD85B84-5BF9-46E1-99E1-918088B747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59" y="1528222"/>
            <a:ext cx="7250497" cy="3240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8A6A1759-77AD-4B7F-98D8-D6E46F18384F}"/>
              </a:ext>
            </a:extLst>
          </p:cNvPr>
          <p:cNvSpPr txBox="1"/>
          <p:nvPr/>
        </p:nvSpPr>
        <p:spPr>
          <a:xfrm>
            <a:off x="1400971" y="198705"/>
            <a:ext cx="9229366" cy="769441"/>
          </a:xfrm>
          <a:prstGeom prst="rect">
            <a:avLst/>
          </a:prstGeom>
          <a:solidFill>
            <a:srgbClr val="D31145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IR model: udržení a významné posílení opatření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pad potenciálních opatření na mobilitu od 19.2.2021</a:t>
            </a:r>
            <a:endParaRPr kumimoji="0" lang="cs-CZ" sz="22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12">
            <a:extLst>
              <a:ext uri="{FF2B5EF4-FFF2-40B4-BE49-F238E27FC236}">
                <a16:creationId xmlns:a16="http://schemas.microsoft.com/office/drawing/2014/main" id="{9119B67F-49E4-4A7A-BA36-DAE66AAD4855}"/>
              </a:ext>
            </a:extLst>
          </p:cNvPr>
          <p:cNvSpPr txBox="1"/>
          <p:nvPr/>
        </p:nvSpPr>
        <p:spPr>
          <a:xfrm rot="16200000">
            <a:off x="-823009" y="3093360"/>
            <a:ext cx="30324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onemocnění za den</a:t>
            </a:r>
          </a:p>
        </p:txBody>
      </p: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65FFF22E-E755-4AB1-9AFC-9DBD69DD7F82}"/>
              </a:ext>
            </a:extLst>
          </p:cNvPr>
          <p:cNvSpPr txBox="1"/>
          <p:nvPr/>
        </p:nvSpPr>
        <p:spPr>
          <a:xfrm>
            <a:off x="846581" y="1841326"/>
            <a:ext cx="5524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periodicity v rámci týdne, odpovídá cca týdenním klouzavým průměrům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1C4F1DEC-CA3B-4E8E-8A7E-D9123A0B7B2C}"/>
              </a:ext>
            </a:extLst>
          </p:cNvPr>
          <p:cNvSpPr/>
          <p:nvPr/>
        </p:nvSpPr>
        <p:spPr>
          <a:xfrm>
            <a:off x="8340641" y="1532028"/>
            <a:ext cx="38111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28.12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40 %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4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základní reprodukce o 10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30 % od 4.1.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25.1.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ýšení základní reprodukce o 70 %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imulace šíření nakažlivějších forem viru, simulace nedodržování opatření)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 opatření od konce února</a:t>
            </a:r>
            <a:endParaRPr kumimoji="0" lang="cs-CZ" sz="1600" b="1" i="0" u="sng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pracovní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školní kontakty na 0 %</a:t>
            </a:r>
          </a:p>
          <a:p>
            <a:pPr marL="447675" marR="0" lvl="1" indent="-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ížení jiných kontaktů na </a:t>
            </a:r>
            <a:r>
              <a:rPr kumimoji="0" lang="cs-CZ" sz="1600" b="1" i="0" u="sng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%</a:t>
            </a: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5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vedeny podíly normálních kontaktů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D311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D311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0F1B0D8B-D2F4-4533-8528-E8DD2C61DC04}"/>
              </a:ext>
            </a:extLst>
          </p:cNvPr>
          <p:cNvCxnSpPr/>
          <p:nvPr/>
        </p:nvCxnSpPr>
        <p:spPr>
          <a:xfrm>
            <a:off x="5672750" y="1532028"/>
            <a:ext cx="496389" cy="174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24">
            <a:extLst>
              <a:ext uri="{FF2B5EF4-FFF2-40B4-BE49-F238E27FC236}">
                <a16:creationId xmlns:a16="http://schemas.microsoft.com/office/drawing/2014/main" id="{D23E56DB-DDE0-4AA6-BB35-813E6B878D6D}"/>
              </a:ext>
            </a:extLst>
          </p:cNvPr>
          <p:cNvSpPr txBox="1"/>
          <p:nvPr/>
        </p:nvSpPr>
        <p:spPr>
          <a:xfrm>
            <a:off x="6203973" y="1369564"/>
            <a:ext cx="20101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ac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BED43F-A47C-4D3B-9F87-076250E20B18}"/>
              </a:ext>
            </a:extLst>
          </p:cNvPr>
          <p:cNvSpPr txBox="1"/>
          <p:nvPr/>
        </p:nvSpPr>
        <p:spPr>
          <a:xfrm>
            <a:off x="1400971" y="1197205"/>
            <a:ext cx="3609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anžově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ud pozorovaná data,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 klouzavý průměr, časové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poždění k hlášení 4 dny</a:t>
            </a:r>
            <a:endParaRPr kumimoji="0" lang="cs-CZ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11F9500-ED81-45FD-AF3C-90840EEBF1C3}"/>
              </a:ext>
            </a:extLst>
          </p:cNvPr>
          <p:cNvSpPr txBox="1"/>
          <p:nvPr/>
        </p:nvSpPr>
        <p:spPr>
          <a:xfrm>
            <a:off x="169916" y="5870196"/>
            <a:ext cx="80344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 SEIR, který zahrnuje vybrané předpoklady a slouží ke zkoumání dopadu změny různých parametrů epidemie. Vzhledem k neurčitostem ve struktuře modelu (například limitované znalosti o skutečné vnímavosti populace k viru a k jeho novým variantám) je nezbytné výsledky brát jako orientační, umožňující zejména celkové srovnávání jednotlivých scénářů, nikoli konkrétní předpověď pro určité období. </a:t>
            </a:r>
          </a:p>
        </p:txBody>
      </p:sp>
      <p:graphicFrame>
        <p:nvGraphicFramePr>
          <p:cNvPr id="15" name="Tabulka 10">
            <a:extLst>
              <a:ext uri="{FF2B5EF4-FFF2-40B4-BE49-F238E27FC236}">
                <a16:creationId xmlns:a16="http://schemas.microsoft.com/office/drawing/2014/main" id="{4980723B-CE17-4BB1-95EB-C838B644D0EE}"/>
              </a:ext>
            </a:extLst>
          </p:cNvPr>
          <p:cNvGraphicFramePr>
            <a:graphicFrameLocks noGrp="1"/>
          </p:cNvGraphicFramePr>
          <p:nvPr/>
        </p:nvGraphicFramePr>
        <p:xfrm>
          <a:off x="200608" y="4765643"/>
          <a:ext cx="7834447" cy="830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7996">
                  <a:extLst>
                    <a:ext uri="{9D8B030D-6E8A-4147-A177-3AD203B41FA5}">
                      <a16:colId xmlns:a16="http://schemas.microsoft.com/office/drawing/2014/main" val="2668584180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44807629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522117172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8102247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900389438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418613230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82968639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3321566055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650665797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2879972236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194269133"/>
                    </a:ext>
                  </a:extLst>
                </a:gridCol>
                <a:gridCol w="596041">
                  <a:extLst>
                    <a:ext uri="{9D8B030D-6E8A-4147-A177-3AD203B41FA5}">
                      <a16:colId xmlns:a16="http://schemas.microsoft.com/office/drawing/2014/main" val="1562465228"/>
                    </a:ext>
                  </a:extLst>
                </a:gridCol>
              </a:tblGrid>
              <a:tr h="275016">
                <a:tc>
                  <a:txBody>
                    <a:bodyPr/>
                    <a:lstStyle/>
                    <a:p>
                      <a:pPr algn="ctr" fontAlgn="b"/>
                      <a:endParaRPr lang="cs-CZ" sz="1200" b="1" i="0" u="none" strike="noStrike" noProof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erve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p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ář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říje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in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ún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řez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b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ěten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861870"/>
                  </a:ext>
                </a:extLst>
              </a:tr>
              <a:tr h="280371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ě za měsí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50241"/>
                  </a:ext>
                </a:extLst>
              </a:tr>
              <a:tr h="275016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noProof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mulativně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0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0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1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64 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020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145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91</TotalTime>
  <Words>5457</Words>
  <Application>Microsoft Office PowerPoint</Application>
  <PresentationFormat>Širokoúhlá obrazovka</PresentationFormat>
  <Paragraphs>1019</Paragraphs>
  <Slides>41</Slides>
  <Notes>8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41</vt:i4>
      </vt:variant>
    </vt:vector>
  </HeadingPairs>
  <TitlesOfParts>
    <vt:vector size="53" baseType="lpstr">
      <vt:lpstr>Arial</vt:lpstr>
      <vt:lpstr>Arial Black</vt:lpstr>
      <vt:lpstr>Calibri</vt:lpstr>
      <vt:lpstr>Calibri Light</vt:lpstr>
      <vt:lpstr>Segoe UI</vt:lpstr>
      <vt:lpstr>Wingdings</vt:lpstr>
      <vt:lpstr>Motiv Office</vt:lpstr>
      <vt:lpstr>1_Motiv systému Office</vt:lpstr>
      <vt:lpstr>1_Motiv Office</vt:lpstr>
      <vt:lpstr>2_Motiv Office</vt:lpstr>
      <vt:lpstr>8_Motiv Office</vt:lpstr>
      <vt:lpstr>3_Motiv Office</vt:lpstr>
      <vt:lpstr>Datová a informační základna  pro management pandemie COVID-19</vt:lpstr>
      <vt:lpstr>Datová a informační základna  pro management pandemie COVID-19</vt:lpstr>
      <vt:lpstr>Navržené scénáře pro  vývoj epidemie v květnu</vt:lpstr>
      <vt:lpstr>Predikce ve čtyřech scénářích</vt:lpstr>
      <vt:lpstr>Rekalibrace prediktivního modelu pro nové scénáře</vt:lpstr>
      <vt:lpstr>Modelové scénáře: 7denní hodnoty na 100 tisíc obyvatel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Scénáře pro dlouhodobé simulace</vt:lpstr>
      <vt:lpstr>Scénáře dlouhodobých simulací z 5. 3. 2021</vt:lpstr>
      <vt:lpstr>Scénáře pro dlouhodobé simulace</vt:lpstr>
      <vt:lpstr>Scénáře dlouhodobých simulací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Datová a informační základna  pro management pandemie COVID-19</vt:lpstr>
      <vt:lpstr>Prezentace aplikace PowerPoint</vt:lpstr>
      <vt:lpstr>Prezentace aplikace PowerPoint</vt:lpstr>
      <vt:lpstr>Prezentace aplikace PowerPoint</vt:lpstr>
      <vt:lpstr>Prezentace aplikace PowerPoint</vt:lpstr>
      <vt:lpstr>Národní dispečink lůžkové péče</vt:lpstr>
      <vt:lpstr>Národní dispečink lůžkové péče</vt:lpstr>
      <vt:lpstr>NDLP – vývoj obsazenosti C+ lůžek v ČR</vt:lpstr>
      <vt:lpstr>Datová a informační základna  pro management pandemie COVID-19</vt:lpstr>
      <vt:lpstr>Prezentace aplikace PowerPoint</vt:lpstr>
      <vt:lpstr>Predikovaný počet aktuálně hospitalizovaných</vt:lpstr>
      <vt:lpstr>Predikovaný počet aktuálně hospitalizovaných na JIP</vt:lpstr>
      <vt:lpstr>Predikovaný počet nových hospitalizačních případů</vt:lpstr>
      <vt:lpstr>Predikovaný počet zemřelýc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Ladislav Dušek</cp:lastModifiedBy>
  <cp:revision>1933</cp:revision>
  <dcterms:created xsi:type="dcterms:W3CDTF">2020-03-16T10:06:11Z</dcterms:created>
  <dcterms:modified xsi:type="dcterms:W3CDTF">2021-05-03T19:53:56Z</dcterms:modified>
</cp:coreProperties>
</file>